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5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11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18.xml" ContentType="application/vnd.openxmlformats-officedocument.presentationml.slide+xml"/>
  <Override PartName="/ppt/slides/slide10.xml" ContentType="application/vnd.openxmlformats-officedocument.presentationml.slide+xml"/>
  <Override PartName="/ppt/slides/slide17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Layouts/slideLayout61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60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18.xml" ContentType="application/vnd.openxmlformats-officedocument.presentationml.tags+xml"/>
  <Override PartName="/ppt/tags/tag12.xml" ContentType="application/vnd.openxmlformats-officedocument.presentationml.tags+xml"/>
  <Override PartName="/docProps/custom.xml" ContentType="application/vnd.openxmlformats-officedocument.custom-propertie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1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3.xml" ContentType="application/vnd.openxmlformats-officedocument.presentationml.tags+xml"/>
  <Override PartName="/ppt/tags/tag47.xml" ContentType="application/vnd.openxmlformats-officedocument.presentationml.tags+xml"/>
  <Override PartName="/ppt/tags/tag42.xml" ContentType="application/vnd.openxmlformats-officedocument.presentationml.tags+xml"/>
  <Override PartName="/ppt/tags/tag48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9" r:id="rId3"/>
  </p:sldMasterIdLst>
  <p:notesMasterIdLst>
    <p:notesMasterId r:id="rId36"/>
  </p:notesMasterIdLst>
  <p:sldIdLst>
    <p:sldId id="256" r:id="rId4"/>
    <p:sldId id="257" r:id="rId5"/>
    <p:sldId id="303" r:id="rId6"/>
    <p:sldId id="302" r:id="rId7"/>
    <p:sldId id="304" r:id="rId8"/>
    <p:sldId id="305" r:id="rId9"/>
    <p:sldId id="306" r:id="rId10"/>
    <p:sldId id="307" r:id="rId11"/>
    <p:sldId id="308" r:id="rId12"/>
    <p:sldId id="309" r:id="rId13"/>
    <p:sldId id="311" r:id="rId14"/>
    <p:sldId id="312" r:id="rId15"/>
    <p:sldId id="313" r:id="rId16"/>
    <p:sldId id="314" r:id="rId17"/>
    <p:sldId id="315" r:id="rId18"/>
    <p:sldId id="316" r:id="rId19"/>
    <p:sldId id="317" r:id="rId20"/>
    <p:sldId id="319" r:id="rId21"/>
    <p:sldId id="320" r:id="rId22"/>
    <p:sldId id="321" r:id="rId23"/>
    <p:sldId id="322" r:id="rId24"/>
    <p:sldId id="323" r:id="rId25"/>
    <p:sldId id="324" r:id="rId26"/>
    <p:sldId id="325" r:id="rId27"/>
    <p:sldId id="326" r:id="rId28"/>
    <p:sldId id="327" r:id="rId29"/>
    <p:sldId id="328" r:id="rId30"/>
    <p:sldId id="331" r:id="rId31"/>
    <p:sldId id="330" r:id="rId32"/>
    <p:sldId id="332" r:id="rId33"/>
    <p:sldId id="333" r:id="rId34"/>
    <p:sldId id="263" r:id="rId35"/>
  </p:sldIdLst>
  <p:sldSz cx="16202025" cy="9001125"/>
  <p:notesSz cx="6858000" cy="9144000"/>
  <p:custDataLst>
    <p:tags r:id="rId37"/>
  </p:custDataLst>
  <p:defaultTextStyle>
    <a:defPPr>
      <a:defRPr lang="es-CL"/>
    </a:defPPr>
    <a:lvl1pPr marL="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EnNSlniS90qM05VYgcduQw==" hashData="1BAjVtYcSeZ+1eEsjHBGyZlfV0+vpyVeEtg/Lwkhih7RxZTc++KLabkYDM52Gqw5RnegXKDcl5bjGmWwgA0F+Q=="/>
  <p:extLst>
    <p:ext uri="{EFAFB233-063F-42B5-8137-9DF3F51BA10A}">
      <p15:sldGuideLst xmlns:p15="http://schemas.microsoft.com/office/powerpoint/2012/main">
        <p15:guide id="1" orient="horz" pos="250">
          <p15:clr>
            <a:srgbClr val="A4A3A4"/>
          </p15:clr>
        </p15:guide>
        <p15:guide id="2" orient="horz" pos="5375">
          <p15:clr>
            <a:srgbClr val="A4A3A4"/>
          </p15:clr>
        </p15:guide>
        <p15:guide id="3" orient="horz" pos="839">
          <p15:clr>
            <a:srgbClr val="A4A3A4"/>
          </p15:clr>
        </p15:guide>
        <p15:guide id="4" orient="horz" pos="1021">
          <p15:clr>
            <a:srgbClr val="A4A3A4"/>
          </p15:clr>
        </p15:guide>
        <p15:guide id="5" pos="340">
          <p15:clr>
            <a:srgbClr val="A4A3A4"/>
          </p15:clr>
        </p15:guide>
        <p15:guide id="6" pos="9911">
          <p15:clr>
            <a:srgbClr val="A4A3A4"/>
          </p15:clr>
        </p15:guide>
        <p15:guide id="7" pos="2381">
          <p15:clr>
            <a:srgbClr val="A4A3A4"/>
          </p15:clr>
        </p15:guide>
        <p15:guide id="8" pos="2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DE"/>
    <a:srgbClr val="15C047"/>
    <a:srgbClr val="0C662F"/>
    <a:srgbClr val="000000"/>
    <a:srgbClr val="84B727"/>
    <a:srgbClr val="8ECFD0"/>
    <a:srgbClr val="A6A6A6"/>
    <a:srgbClr val="F2E500"/>
    <a:srgbClr val="004B53"/>
    <a:srgbClr val="8D0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9" autoAdjust="0"/>
    <p:restoredTop sz="94660"/>
  </p:normalViewPr>
  <p:slideViewPr>
    <p:cSldViewPr>
      <p:cViewPr varScale="1">
        <p:scale>
          <a:sx n="55" d="100"/>
          <a:sy n="55" d="100"/>
        </p:scale>
        <p:origin x="28" y="172"/>
      </p:cViewPr>
      <p:guideLst>
        <p:guide orient="horz" pos="250"/>
        <p:guide orient="horz" pos="5375"/>
        <p:guide orient="horz" pos="839"/>
        <p:guide orient="horz" pos="1021"/>
        <p:guide pos="340"/>
        <p:guide pos="9911"/>
        <p:guide pos="2381"/>
        <p:guide pos="26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customXml" Target="../customXml/item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customXml" Target="../customXml/item3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customXml" Target="../customXml/item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85800"/>
            <a:ext cx="61722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57700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152" y="2796183"/>
            <a:ext cx="13771721" cy="19294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0304" y="5100637"/>
            <a:ext cx="11341418" cy="230028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20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4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6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0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20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040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76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4575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831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0815102" y="472977"/>
            <a:ext cx="6458307" cy="100804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34555" y="472977"/>
            <a:ext cx="19110514" cy="100804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1341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2A9E4BC-2725-7D4A-800A-04015E2A9C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5A71D66A-548A-4E45-A797-319F6B855B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127168A3-0CDD-3842-A871-01C336DA32CE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F012D428-C8D1-7949-B8BA-EDFE6ACDFE4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237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/>
        </p:nvSpPr>
        <p:spPr>
          <a:xfrm>
            <a:off x="14478349" y="7287581"/>
            <a:ext cx="1254208" cy="784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927" tIns="32927" rIns="32927" bIns="32927" anchor="ctr">
            <a:spAutoFit/>
          </a:bodyPr>
          <a:lstStyle/>
          <a:p>
            <a:pPr defTabSz="1200150">
              <a:spcBef>
                <a:spcPts val="778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555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Marcador de posición de imagen 10">
            <a:extLst>
              <a:ext uri="{FF2B5EF4-FFF2-40B4-BE49-F238E27FC236}">
                <a16:creationId xmlns=""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4701" y="-12500"/>
            <a:ext cx="13929945" cy="9013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36437" y="593827"/>
            <a:ext cx="1058111" cy="1045048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="" xmlns:a16="http://schemas.microsoft.com/office/drawing/2014/main" id="{B8906DF6-FBF4-AC40-830F-E54C334DA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481" y="932136"/>
            <a:ext cx="7864321" cy="1721531"/>
          </a:xfrm>
          <a:prstGeom prst="rect">
            <a:avLst/>
          </a:prstGeom>
        </p:spPr>
        <p:txBody>
          <a:bodyPr/>
          <a:lstStyle>
            <a:lvl1pPr>
              <a:lnSpc>
                <a:spcPts val="4213"/>
              </a:lnSpc>
              <a:defRPr sz="3889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15849" y="8277971"/>
            <a:ext cx="1381613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3355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1DF01602-55BE-7145-87D0-D59AB1381C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13890625" cy="9001125"/>
          </a:xfrm>
        </p:spPr>
        <p:txBody>
          <a:bodyPr>
            <a:normAutofit/>
          </a:bodyPr>
          <a:lstStyle>
            <a:lvl1pPr>
              <a:defRPr sz="2765"/>
            </a:lvl1pPr>
          </a:lstStyle>
          <a:p>
            <a:r>
              <a:rPr lang="es-ES"/>
              <a:t>Haga clic en el icono para agregar una imagen</a:t>
            </a:r>
            <a:endParaRPr lang="es-ES_tradn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/>
        </p:nvSpPr>
        <p:spPr>
          <a:xfrm>
            <a:off x="14478349" y="7287581"/>
            <a:ext cx="1254208" cy="784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927" tIns="32927" rIns="32927" bIns="32927" anchor="ctr">
            <a:spAutoFit/>
          </a:bodyPr>
          <a:lstStyle/>
          <a:p>
            <a:pPr defTabSz="1200150">
              <a:spcBef>
                <a:spcPts val="778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555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36437" y="593827"/>
            <a:ext cx="1058111" cy="1045048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481" y="932133"/>
            <a:ext cx="7864321" cy="1788206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4213"/>
              </a:lnSpc>
              <a:defRPr sz="3938" b="1" baseline="0">
                <a:solidFill>
                  <a:schemeClr val="bg1"/>
                </a:solidFill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15849" y="8277971"/>
            <a:ext cx="1381613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0913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87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83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3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/>
        </p:nvSpPr>
        <p:spPr>
          <a:xfrm flipH="1" flipV="1">
            <a:off x="6497690" y="2300979"/>
            <a:ext cx="13939" cy="6948002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r>
              <a:rPr lang="es-ES" sz="1555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z</a:t>
            </a:r>
            <a:endParaRPr sz="1555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/>
        </p:nvSpPr>
        <p:spPr>
          <a:xfrm>
            <a:off x="6223436" y="2137769"/>
            <a:ext cx="547452" cy="540694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 b="1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1">
            <a:extLst>
              <a:ext uri="{FF2B5EF4-FFF2-40B4-BE49-F238E27FC236}">
                <a16:creationId xmlns="" xmlns:a16="http://schemas.microsoft.com/office/drawing/2014/main" id="{71FA3B16-AB97-0F4C-939B-3F0F7FD107FC}"/>
              </a:ext>
            </a:extLst>
          </p:cNvPr>
          <p:cNvSpPr txBox="1"/>
          <p:nvPr/>
        </p:nvSpPr>
        <p:spPr>
          <a:xfrm>
            <a:off x="6332772" y="2205946"/>
            <a:ext cx="341761" cy="4653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2927" tIns="32927" rIns="32927" bIns="32927" anchor="ctr">
            <a:spAutoFit/>
          </a:bodyPr>
          <a:lstStyle>
            <a:lvl1pPr algn="ctr" defTabSz="1828800"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>
                <a:solidFill>
                  <a:srgbClr val="0C662F"/>
                </a:solidFill>
              </a:rPr>
              <a:t>1</a:t>
            </a:r>
          </a:p>
        </p:txBody>
      </p:sp>
      <p:sp>
        <p:nvSpPr>
          <p:cNvPr id="6" name="Círculo">
            <a:extLst>
              <a:ext uri="{FF2B5EF4-FFF2-40B4-BE49-F238E27FC236}">
                <a16:creationId xmlns="" xmlns:a16="http://schemas.microsoft.com/office/drawing/2014/main" id="{940EDA27-F965-8A45-B802-8C71FC5E065A}"/>
              </a:ext>
            </a:extLst>
          </p:cNvPr>
          <p:cNvSpPr/>
          <p:nvPr/>
        </p:nvSpPr>
        <p:spPr>
          <a:xfrm>
            <a:off x="6223436" y="5098849"/>
            <a:ext cx="547452" cy="540694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 b="1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2">
            <a:extLst>
              <a:ext uri="{FF2B5EF4-FFF2-40B4-BE49-F238E27FC236}">
                <a16:creationId xmlns="" xmlns:a16="http://schemas.microsoft.com/office/drawing/2014/main" id="{2FB37367-B189-B244-9457-9FDFCDEC7CA5}"/>
              </a:ext>
            </a:extLst>
          </p:cNvPr>
          <p:cNvSpPr txBox="1"/>
          <p:nvPr/>
        </p:nvSpPr>
        <p:spPr>
          <a:xfrm>
            <a:off x="6380339" y="5166346"/>
            <a:ext cx="341761" cy="4653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2927" tIns="32927" rIns="32927" bIns="32927" anchor="ctr">
            <a:spAutoFit/>
          </a:bodyPr>
          <a:lstStyle>
            <a:lvl1pPr algn="ctr" defTabSz="1828800"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sz="2592" dirty="0">
                <a:solidFill>
                  <a:srgbClr val="0C662F"/>
                </a:solidFill>
              </a:rPr>
              <a:t>2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0981"/>
            <a:ext cx="7125538" cy="21995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32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4,5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5098849"/>
            <a:ext cx="7125538" cy="2426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32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7" name="Marcador de número de diapositiva 16">
            <a:extLst>
              <a:ext uri="{FF2B5EF4-FFF2-40B4-BE49-F238E27FC236}">
                <a16:creationId xmlns="" xmlns:a16="http://schemas.microsoft.com/office/drawing/2014/main" id="{5CCDAD89-9825-BA44-ADFA-23F68B55EDD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5D8EA583-926E-F64A-B00A-ACFB5CA6DE2B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16085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/>
        </p:nvSpPr>
        <p:spPr>
          <a:xfrm flipV="1">
            <a:off x="6497690" y="2611389"/>
            <a:ext cx="0" cy="6389737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4" name="Grupo 13">
            <a:extLst>
              <a:ext uri="{FF2B5EF4-FFF2-40B4-BE49-F238E27FC236}">
                <a16:creationId xmlns="" xmlns:a16="http://schemas.microsoft.com/office/drawing/2014/main" id="{C592BB51-2F5B-334B-BBF2-932383E7DC3A}"/>
              </a:ext>
            </a:extLst>
          </p:cNvPr>
          <p:cNvGrpSpPr/>
          <p:nvPr/>
        </p:nvGrpSpPr>
        <p:grpSpPr>
          <a:xfrm>
            <a:off x="6223436" y="2543632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="" xmlns:a16="http://schemas.microsoft.com/office/drawing/2014/main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="" xmlns:a16="http://schemas.microsoft.com/office/drawing/2014/main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="" xmlns:a16="http://schemas.microsoft.com/office/drawing/2014/main" id="{FAB304E8-1144-CE48-B0B0-2E7C02F312F2}"/>
              </a:ext>
            </a:extLst>
          </p:cNvPr>
          <p:cNvGrpSpPr/>
          <p:nvPr/>
        </p:nvGrpSpPr>
        <p:grpSpPr>
          <a:xfrm>
            <a:off x="6223436" y="4460788"/>
            <a:ext cx="547452" cy="540693"/>
            <a:chOff x="4683126" y="2517775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="" xmlns:a16="http://schemas.microsoft.com/office/drawing/2014/main" id="{940EDA27-F965-8A45-B802-8C71FC5E065A}"/>
                </a:ext>
              </a:extLst>
            </p:cNvPr>
            <p:cNvSpPr/>
            <p:nvPr/>
          </p:nvSpPr>
          <p:spPr>
            <a:xfrm>
              <a:off x="4683126" y="2517775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="" xmlns:a16="http://schemas.microsoft.com/office/drawing/2014/main" id="{2FB37367-B189-B244-9457-9FDFCDEC7CA5}"/>
                </a:ext>
              </a:extLst>
            </p:cNvPr>
            <p:cNvSpPr txBox="1"/>
            <p:nvPr/>
          </p:nvSpPr>
          <p:spPr>
            <a:xfrm>
              <a:off x="4801194" y="257499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="" xmlns:a16="http://schemas.microsoft.com/office/drawing/2014/main" id="{D5CFF926-8B63-D34A-8E42-1AFC9B870E90}"/>
              </a:ext>
            </a:extLst>
          </p:cNvPr>
          <p:cNvGrpSpPr/>
          <p:nvPr/>
        </p:nvGrpSpPr>
        <p:grpSpPr>
          <a:xfrm>
            <a:off x="6223436" y="6377944"/>
            <a:ext cx="547452" cy="540693"/>
            <a:chOff x="4683126" y="3863974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="" xmlns:a16="http://schemas.microsoft.com/office/drawing/2014/main" id="{7C3D1EB8-A4AC-F046-91CA-6E661DAD119E}"/>
                </a:ext>
              </a:extLst>
            </p:cNvPr>
            <p:cNvSpPr/>
            <p:nvPr/>
          </p:nvSpPr>
          <p:spPr>
            <a:xfrm>
              <a:off x="4683126" y="3863974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="" xmlns:a16="http://schemas.microsoft.com/office/drawing/2014/main" id="{91E08B42-FE59-684C-87D9-D879B4CD58BE}"/>
                </a:ext>
              </a:extLst>
            </p:cNvPr>
            <p:cNvSpPr txBox="1"/>
            <p:nvPr/>
          </p:nvSpPr>
          <p:spPr>
            <a:xfrm>
              <a:off x="4766025" y="392119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0EF5773A-AA43-4E44-9525-56A7A041C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593825"/>
            <a:ext cx="4689333" cy="945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54363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4472215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6367820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D89F4531-1800-9F4D-BB0B-4B3D73DFDA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="" xmlns:a16="http://schemas.microsoft.com/office/drawing/2014/main" id="{6C20F5E0-07F5-D544-AC03-AEC944D09569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07964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/>
        </p:nvSpPr>
        <p:spPr>
          <a:xfrm flipV="1">
            <a:off x="6497690" y="2306198"/>
            <a:ext cx="0" cy="6825378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4" name="Grupo 13">
            <a:extLst>
              <a:ext uri="{FF2B5EF4-FFF2-40B4-BE49-F238E27FC236}">
                <a16:creationId xmlns="" xmlns:a16="http://schemas.microsoft.com/office/drawing/2014/main" id="{C592BB51-2F5B-334B-BBF2-932383E7DC3A}"/>
              </a:ext>
            </a:extLst>
          </p:cNvPr>
          <p:cNvGrpSpPr/>
          <p:nvPr/>
        </p:nvGrpSpPr>
        <p:grpSpPr>
          <a:xfrm>
            <a:off x="6223436" y="2136326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="" xmlns:a16="http://schemas.microsoft.com/office/drawing/2014/main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="" xmlns:a16="http://schemas.microsoft.com/office/drawing/2014/main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="" xmlns:a16="http://schemas.microsoft.com/office/drawing/2014/main" id="{FAB304E8-1144-CE48-B0B0-2E7C02F312F2}"/>
              </a:ext>
            </a:extLst>
          </p:cNvPr>
          <p:cNvGrpSpPr/>
          <p:nvPr/>
        </p:nvGrpSpPr>
        <p:grpSpPr>
          <a:xfrm>
            <a:off x="6223436" y="3756626"/>
            <a:ext cx="547452" cy="540693"/>
            <a:chOff x="4683126" y="2517775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="" xmlns:a16="http://schemas.microsoft.com/office/drawing/2014/main" id="{940EDA27-F965-8A45-B802-8C71FC5E065A}"/>
                </a:ext>
              </a:extLst>
            </p:cNvPr>
            <p:cNvSpPr/>
            <p:nvPr/>
          </p:nvSpPr>
          <p:spPr>
            <a:xfrm>
              <a:off x="4683126" y="2517775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="" xmlns:a16="http://schemas.microsoft.com/office/drawing/2014/main" id="{2FB37367-B189-B244-9457-9FDFCDEC7CA5}"/>
                </a:ext>
              </a:extLst>
            </p:cNvPr>
            <p:cNvSpPr txBox="1"/>
            <p:nvPr/>
          </p:nvSpPr>
          <p:spPr>
            <a:xfrm>
              <a:off x="4801194" y="257499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="" xmlns:a16="http://schemas.microsoft.com/office/drawing/2014/main" id="{9DF7C517-F070-6D45-9C82-44FD04509B7E}"/>
              </a:ext>
            </a:extLst>
          </p:cNvPr>
          <p:cNvGrpSpPr/>
          <p:nvPr/>
        </p:nvGrpSpPr>
        <p:grpSpPr>
          <a:xfrm>
            <a:off x="6223436" y="6997225"/>
            <a:ext cx="547452" cy="539651"/>
            <a:chOff x="4683126" y="5210174"/>
            <a:chExt cx="411957" cy="411163"/>
          </a:xfrm>
        </p:grpSpPr>
        <p:sp>
          <p:nvSpPr>
            <p:cNvPr id="8" name="Círculo">
              <a:extLst>
                <a:ext uri="{FF2B5EF4-FFF2-40B4-BE49-F238E27FC236}">
                  <a16:creationId xmlns="" xmlns:a16="http://schemas.microsoft.com/office/drawing/2014/main" id="{F52F2D8C-DC43-B34A-B2D8-D800CEB9718B}"/>
                </a:ext>
              </a:extLst>
            </p:cNvPr>
            <p:cNvSpPr/>
            <p:nvPr/>
          </p:nvSpPr>
          <p:spPr>
            <a:xfrm>
              <a:off x="4683126" y="5210174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3">
              <a:extLst>
                <a:ext uri="{FF2B5EF4-FFF2-40B4-BE49-F238E27FC236}">
                  <a16:creationId xmlns="" xmlns:a16="http://schemas.microsoft.com/office/drawing/2014/main" id="{1C30725E-7A0A-B048-8064-90A7F215239C}"/>
                </a:ext>
              </a:extLst>
            </p:cNvPr>
            <p:cNvSpPr txBox="1"/>
            <p:nvPr/>
          </p:nvSpPr>
          <p:spPr>
            <a:xfrm>
              <a:off x="4766025" y="526687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4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="" xmlns:a16="http://schemas.microsoft.com/office/drawing/2014/main" id="{D5CFF926-8B63-D34A-8E42-1AFC9B870E90}"/>
              </a:ext>
            </a:extLst>
          </p:cNvPr>
          <p:cNvGrpSpPr/>
          <p:nvPr/>
        </p:nvGrpSpPr>
        <p:grpSpPr>
          <a:xfrm>
            <a:off x="6223436" y="5376928"/>
            <a:ext cx="547452" cy="540693"/>
            <a:chOff x="4683126" y="3863974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="" xmlns:a16="http://schemas.microsoft.com/office/drawing/2014/main" id="{7C3D1EB8-A4AC-F046-91CA-6E661DAD119E}"/>
                </a:ext>
              </a:extLst>
            </p:cNvPr>
            <p:cNvSpPr/>
            <p:nvPr/>
          </p:nvSpPr>
          <p:spPr>
            <a:xfrm>
              <a:off x="4683126" y="3863974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="" xmlns:a16="http://schemas.microsoft.com/office/drawing/2014/main" id="{91E08B42-FE59-684C-87D9-D879B4CD58BE}"/>
                </a:ext>
              </a:extLst>
            </p:cNvPr>
            <p:cNvSpPr txBox="1"/>
            <p:nvPr/>
          </p:nvSpPr>
          <p:spPr>
            <a:xfrm>
              <a:off x="4766025" y="392119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0EF5773A-AA43-4E44-9525-56A7A041C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593825"/>
            <a:ext cx="4689333" cy="945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6201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3922501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553880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55835" y="715510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D89F4531-1800-9F4D-BB0B-4B3D73DFDA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="" xmlns:a16="http://schemas.microsoft.com/office/drawing/2014/main" id="{6C20F5E0-07F5-D544-AC03-AEC944D09569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8796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/>
        </p:nvSpPr>
        <p:spPr>
          <a:xfrm flipV="1">
            <a:off x="6497690" y="2413481"/>
            <a:ext cx="0" cy="662810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7" name="Grupo 16">
            <a:extLst>
              <a:ext uri="{FF2B5EF4-FFF2-40B4-BE49-F238E27FC236}">
                <a16:creationId xmlns="" xmlns:a16="http://schemas.microsoft.com/office/drawing/2014/main" id="{0E62E15C-BC86-AF43-AC57-64B37356E8A5}"/>
              </a:ext>
            </a:extLst>
          </p:cNvPr>
          <p:cNvGrpSpPr/>
          <p:nvPr/>
        </p:nvGrpSpPr>
        <p:grpSpPr>
          <a:xfrm>
            <a:off x="6223436" y="2144512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="" xmlns:a16="http://schemas.microsoft.com/office/drawing/2014/main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="" xmlns:a16="http://schemas.microsoft.com/office/drawing/2014/main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="" xmlns:a16="http://schemas.microsoft.com/office/drawing/2014/main" id="{57A1DD69-AF11-C341-A068-C6BCFB304A12}"/>
              </a:ext>
            </a:extLst>
          </p:cNvPr>
          <p:cNvGrpSpPr/>
          <p:nvPr/>
        </p:nvGrpSpPr>
        <p:grpSpPr>
          <a:xfrm>
            <a:off x="6223436" y="3403017"/>
            <a:ext cx="547452" cy="540693"/>
            <a:chOff x="4683126" y="2253730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="" xmlns:a16="http://schemas.microsoft.com/office/drawing/2014/main" id="{940EDA27-F965-8A45-B802-8C71FC5E065A}"/>
                </a:ext>
              </a:extLst>
            </p:cNvPr>
            <p:cNvSpPr/>
            <p:nvPr/>
          </p:nvSpPr>
          <p:spPr>
            <a:xfrm>
              <a:off x="4683126" y="2253730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="" xmlns:a16="http://schemas.microsoft.com/office/drawing/2014/main" id="{2FB37367-B189-B244-9457-9FDFCDEC7CA5}"/>
                </a:ext>
              </a:extLst>
            </p:cNvPr>
            <p:cNvSpPr txBox="1"/>
            <p:nvPr/>
          </p:nvSpPr>
          <p:spPr>
            <a:xfrm>
              <a:off x="4801194" y="2310948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="" xmlns:a16="http://schemas.microsoft.com/office/drawing/2014/main" id="{CB29BF30-9415-6446-91F8-D23C812D624E}"/>
              </a:ext>
            </a:extLst>
          </p:cNvPr>
          <p:cNvGrpSpPr/>
          <p:nvPr/>
        </p:nvGrpSpPr>
        <p:grpSpPr>
          <a:xfrm>
            <a:off x="6223436" y="7231441"/>
            <a:ext cx="547452" cy="539651"/>
            <a:chOff x="4683126" y="5499397"/>
            <a:chExt cx="411957" cy="411163"/>
          </a:xfrm>
        </p:grpSpPr>
        <p:sp>
          <p:nvSpPr>
            <p:cNvPr id="8" name="Círculo">
              <a:extLst>
                <a:ext uri="{FF2B5EF4-FFF2-40B4-BE49-F238E27FC236}">
                  <a16:creationId xmlns="" xmlns:a16="http://schemas.microsoft.com/office/drawing/2014/main" id="{F52F2D8C-DC43-B34A-B2D8-D800CEB9718B}"/>
                </a:ext>
              </a:extLst>
            </p:cNvPr>
            <p:cNvSpPr/>
            <p:nvPr/>
          </p:nvSpPr>
          <p:spPr>
            <a:xfrm>
              <a:off x="4683126" y="5499397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3">
              <a:extLst>
                <a:ext uri="{FF2B5EF4-FFF2-40B4-BE49-F238E27FC236}">
                  <a16:creationId xmlns="" xmlns:a16="http://schemas.microsoft.com/office/drawing/2014/main" id="{1C30725E-7A0A-B048-8064-90A7F215239C}"/>
                </a:ext>
              </a:extLst>
            </p:cNvPr>
            <p:cNvSpPr txBox="1"/>
            <p:nvPr/>
          </p:nvSpPr>
          <p:spPr>
            <a:xfrm>
              <a:off x="4766025" y="5556096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5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="" xmlns:a16="http://schemas.microsoft.com/office/drawing/2014/main" id="{DAD26C6C-4EB9-124D-ABBA-815C91738182}"/>
              </a:ext>
            </a:extLst>
          </p:cNvPr>
          <p:cNvGrpSpPr/>
          <p:nvPr/>
        </p:nvGrpSpPr>
        <p:grpSpPr>
          <a:xfrm>
            <a:off x="6223436" y="4661525"/>
            <a:ext cx="547452" cy="540693"/>
            <a:chOff x="4683126" y="3335883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="" xmlns:a16="http://schemas.microsoft.com/office/drawing/2014/main" id="{7C3D1EB8-A4AC-F046-91CA-6E661DAD119E}"/>
                </a:ext>
              </a:extLst>
            </p:cNvPr>
            <p:cNvSpPr/>
            <p:nvPr/>
          </p:nvSpPr>
          <p:spPr>
            <a:xfrm>
              <a:off x="4683126" y="3335883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="" xmlns:a16="http://schemas.microsoft.com/office/drawing/2014/main" id="{91E08B42-FE59-684C-87D9-D879B4CD58BE}"/>
                </a:ext>
              </a:extLst>
            </p:cNvPr>
            <p:cNvSpPr txBox="1"/>
            <p:nvPr/>
          </p:nvSpPr>
          <p:spPr>
            <a:xfrm>
              <a:off x="4766025" y="3393101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="" xmlns:a16="http://schemas.microsoft.com/office/drawing/2014/main" id="{627AF89F-51F2-974C-8C65-DC95A56471EF}"/>
              </a:ext>
            </a:extLst>
          </p:cNvPr>
          <p:cNvGrpSpPr/>
          <p:nvPr/>
        </p:nvGrpSpPr>
        <p:grpSpPr>
          <a:xfrm>
            <a:off x="6223436" y="5947003"/>
            <a:ext cx="547452" cy="539651"/>
            <a:chOff x="4683126" y="4418038"/>
            <a:chExt cx="411957" cy="411163"/>
          </a:xfrm>
        </p:grpSpPr>
        <p:sp>
          <p:nvSpPr>
            <p:cNvPr id="18" name="Círculo">
              <a:extLst>
                <a:ext uri="{FF2B5EF4-FFF2-40B4-BE49-F238E27FC236}">
                  <a16:creationId xmlns="" xmlns:a16="http://schemas.microsoft.com/office/drawing/2014/main" id="{884743E4-9B03-EC4B-A260-19A415777DF6}"/>
                </a:ext>
              </a:extLst>
            </p:cNvPr>
            <p:cNvSpPr/>
            <p:nvPr/>
          </p:nvSpPr>
          <p:spPr>
            <a:xfrm>
              <a:off x="4683126" y="4418038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3">
              <a:extLst>
                <a:ext uri="{FF2B5EF4-FFF2-40B4-BE49-F238E27FC236}">
                  <a16:creationId xmlns="" xmlns:a16="http://schemas.microsoft.com/office/drawing/2014/main" id="{AE867737-15FD-604D-8F54-6525D645A5BB}"/>
                </a:ext>
              </a:extLst>
            </p:cNvPr>
            <p:cNvSpPr txBox="1"/>
            <p:nvPr/>
          </p:nvSpPr>
          <p:spPr>
            <a:xfrm>
              <a:off x="4766025" y="4474734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4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2870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356812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4833378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55835" y="609863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55835" y="736388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número de diapositiva 1">
            <a:extLst>
              <a:ext uri="{FF2B5EF4-FFF2-40B4-BE49-F238E27FC236}">
                <a16:creationId xmlns="" xmlns:a16="http://schemas.microsoft.com/office/drawing/2014/main" id="{03A48B33-A8CB-4B44-BB14-D481E6DABB3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884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24">
          <p15:clr>
            <a:srgbClr val="FBAE40"/>
          </p15:clr>
        </p15:guide>
        <p15:guide id="3" orient="horz" pos="2233">
          <p15:clr>
            <a:srgbClr val="FBAE40"/>
          </p15:clr>
        </p15:guide>
        <p15:guide id="4" orient="horz" pos="2848">
          <p15:clr>
            <a:srgbClr val="FBAE40"/>
          </p15:clr>
        </p15:guide>
        <p15:guide id="5" orient="horz" pos="346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08264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6590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73091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69592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61" name="Título 1">
            <a:extLst>
              <a:ext uri="{FF2B5EF4-FFF2-40B4-BE49-F238E27FC236}">
                <a16:creationId xmlns="" xmlns:a16="http://schemas.microsoft.com/office/drawing/2014/main" id="{AF37E838-6566-A847-ABB9-7092F1C16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066092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6590" y="5358054"/>
            <a:ext cx="2538870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97"/>
              </a:spcBef>
              <a:spcAft>
                <a:spcPts val="1297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3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73118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69645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66172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="" xmlns:a16="http://schemas.microsoft.com/office/drawing/2014/main" id="{4EB9DD76-F7D8-3E43-BD31-B7C372E8921E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6943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7697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68449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869201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49B71DB7-A654-844B-8689-DCE3BDF344B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44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730" y="3247845"/>
            <a:ext cx="204877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74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3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219" y="3247845"/>
            <a:ext cx="204401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6063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23317" y="3247845"/>
            <a:ext cx="203688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975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66624" y="3247845"/>
            <a:ext cx="204876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0780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529529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29529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7" name="Título 1">
            <a:extLst>
              <a:ext uri="{FF2B5EF4-FFF2-40B4-BE49-F238E27FC236}">
                <a16:creationId xmlns="" xmlns:a16="http://schemas.microsoft.com/office/drawing/2014/main" id="{9E1903E5-0B43-B14C-92A3-493CF678A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61"/>
            <a:ext cx="4397027" cy="945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2B5E496B-C752-824B-90AB-16C0445ADA3D}"/>
              </a:ext>
            </a:extLst>
          </p:cNvPr>
          <p:cNvCxnSpPr>
            <a:cxnSpLocks/>
          </p:cNvCxnSpPr>
          <p:nvPr/>
        </p:nvCxnSpPr>
        <p:spPr>
          <a:xfrm>
            <a:off x="989558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C362018F-EA21-4C43-90C7-50DC98F19ABF}"/>
              </a:ext>
            </a:extLst>
          </p:cNvPr>
          <p:cNvCxnSpPr>
            <a:cxnSpLocks/>
          </p:cNvCxnSpPr>
          <p:nvPr/>
        </p:nvCxnSpPr>
        <p:spPr>
          <a:xfrm>
            <a:off x="668085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494AAB60-24B4-E74A-BE1B-C423918FE76E}"/>
              </a:ext>
            </a:extLst>
          </p:cNvPr>
          <p:cNvCxnSpPr>
            <a:cxnSpLocks/>
          </p:cNvCxnSpPr>
          <p:nvPr/>
        </p:nvCxnSpPr>
        <p:spPr>
          <a:xfrm>
            <a:off x="3466125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638125DE-6B7C-2B44-9E77-2BB68C07C81A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8A978983-138F-0340-AD4E-DF2CA4EC1DAD}"/>
              </a:ext>
            </a:extLst>
          </p:cNvPr>
          <p:cNvCxnSpPr>
            <a:cxnSpLocks/>
          </p:cNvCxnSpPr>
          <p:nvPr/>
        </p:nvCxnSpPr>
        <p:spPr>
          <a:xfrm>
            <a:off x="13157662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número de diapositiva 1">
            <a:extLst>
              <a:ext uri="{FF2B5EF4-FFF2-40B4-BE49-F238E27FC236}">
                <a16:creationId xmlns="" xmlns:a16="http://schemas.microsoft.com/office/drawing/2014/main" id="{6164492C-0653-984B-93FE-EA97E94C93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78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730" y="3247845"/>
            <a:ext cx="204877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74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3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0622" y="3247845"/>
            <a:ext cx="204401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622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4759" y="3247845"/>
            <a:ext cx="203688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4757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1762" y="3247845"/>
            <a:ext cx="204876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76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529529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29529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7" name="Título 1">
            <a:extLst>
              <a:ext uri="{FF2B5EF4-FFF2-40B4-BE49-F238E27FC236}">
                <a16:creationId xmlns="" xmlns:a16="http://schemas.microsoft.com/office/drawing/2014/main" id="{9E1903E5-0B43-B14C-92A3-493CF678A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61"/>
            <a:ext cx="4397027" cy="945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2B5E496B-C752-824B-90AB-16C0445ADA3D}"/>
              </a:ext>
            </a:extLst>
          </p:cNvPr>
          <p:cNvCxnSpPr>
            <a:cxnSpLocks/>
          </p:cNvCxnSpPr>
          <p:nvPr/>
        </p:nvCxnSpPr>
        <p:spPr>
          <a:xfrm>
            <a:off x="8089460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C362018F-EA21-4C43-90C7-50DC98F19ABF}"/>
              </a:ext>
            </a:extLst>
          </p:cNvPr>
          <p:cNvCxnSpPr>
            <a:cxnSpLocks/>
          </p:cNvCxnSpPr>
          <p:nvPr/>
        </p:nvCxnSpPr>
        <p:spPr>
          <a:xfrm>
            <a:off x="6096000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494AAB60-24B4-E74A-BE1B-C423918FE76E}"/>
              </a:ext>
            </a:extLst>
          </p:cNvPr>
          <p:cNvCxnSpPr>
            <a:cxnSpLocks/>
          </p:cNvCxnSpPr>
          <p:nvPr/>
        </p:nvCxnSpPr>
        <p:spPr>
          <a:xfrm>
            <a:off x="291643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638125DE-6B7C-2B44-9E77-2BB68C07C81A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8A978983-138F-0340-AD4E-DF2CA4EC1DAD}"/>
              </a:ext>
            </a:extLst>
          </p:cNvPr>
          <p:cNvCxnSpPr>
            <a:cxnSpLocks/>
          </p:cNvCxnSpPr>
          <p:nvPr/>
        </p:nvCxnSpPr>
        <p:spPr>
          <a:xfrm>
            <a:off x="13262483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número de diapositiva 1">
            <a:extLst>
              <a:ext uri="{FF2B5EF4-FFF2-40B4-BE49-F238E27FC236}">
                <a16:creationId xmlns="" xmlns:a16="http://schemas.microsoft.com/office/drawing/2014/main" id="{6164492C-0653-984B-93FE-EA97E94C93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43F33C67-45CD-7047-9BCC-2401C278A2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40646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6">
            <a:extLst>
              <a:ext uri="{FF2B5EF4-FFF2-40B4-BE49-F238E27FC236}">
                <a16:creationId xmlns="" xmlns:a16="http://schemas.microsoft.com/office/drawing/2014/main" id="{9777251C-0852-C94D-8962-FCAE03B2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940645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D567F2BB-843F-8041-BD2D-879481734705}"/>
              </a:ext>
            </a:extLst>
          </p:cNvPr>
          <p:cNvCxnSpPr>
            <a:cxnSpLocks/>
          </p:cNvCxnSpPr>
          <p:nvPr/>
        </p:nvCxnSpPr>
        <p:spPr>
          <a:xfrm>
            <a:off x="10675972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00F34FB2-688E-F342-8B96-459104349340}"/>
              </a:ext>
            </a:extLst>
          </p:cNvPr>
          <p:cNvCxnSpPr>
            <a:cxnSpLocks/>
          </p:cNvCxnSpPr>
          <p:nvPr/>
        </p:nvCxnSpPr>
        <p:spPr>
          <a:xfrm>
            <a:off x="5502948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179442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/>
        </p:nvSpPr>
        <p:spPr>
          <a:xfrm>
            <a:off x="12245702" y="4824955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/>
        </p:nvSpPr>
        <p:spPr>
          <a:xfrm>
            <a:off x="11449760" y="2801702"/>
            <a:ext cx="372201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5421" y="2801702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6586" y="322535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7182" y="2801702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/>
        </p:nvCxnSpPr>
        <p:spPr>
          <a:xfrm>
            <a:off x="4905026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55421" y="4500614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6586" y="486192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7182" y="4500614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/>
        </p:nvCxnSpPr>
        <p:spPr>
          <a:xfrm>
            <a:off x="4905026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55421" y="6198132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6586" y="662178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7182" y="6198132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/>
        </p:nvCxnSpPr>
        <p:spPr>
          <a:xfrm>
            <a:off x="4905026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56536" y="2895064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56536" y="3587456"/>
            <a:ext cx="3166389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C8D3ADC8-2646-824F-9B26-D0300FFE6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AFEA284-D854-764B-8679-FF97559BAF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54892AB7-8969-3149-A8C8-A55B4DF9A946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0153" y="8480226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8C8420A3-7D72-C143-952C-9A42F71F4C2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075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/>
        </p:nvSpPr>
        <p:spPr>
          <a:xfrm>
            <a:off x="12246206" y="4913554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924116B-8941-2A40-A860-3DF871878D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D20FBF2A-FC74-574B-9A6F-BCDA3D6935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/>
        </p:nvSpPr>
        <p:spPr>
          <a:xfrm flipH="1">
            <a:off x="3856487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/>
        </p:nvSpPr>
        <p:spPr>
          <a:xfrm flipH="1">
            <a:off x="7484877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/>
        </p:nvSpPr>
        <p:spPr>
          <a:xfrm>
            <a:off x="11366240" y="3120273"/>
            <a:ext cx="372237" cy="44333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9629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29" y="4811621"/>
            <a:ext cx="2648505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30315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0315" y="4796585"/>
            <a:ext cx="2648505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0555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0555" y="4811621"/>
            <a:ext cx="2648505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36798" y="3272209"/>
            <a:ext cx="3169746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36798" y="3964604"/>
            <a:ext cx="3169746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30315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890556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03549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B2C42A6C-EAEB-EA4C-ADC8-0D1BC723F663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83676"/>
            <a:ext cx="11131590" cy="504025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56ABEE02-19A8-CB4B-AAEE-AD0D006CF50C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767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/>
        </p:nvSpPr>
        <p:spPr>
          <a:xfrm>
            <a:off x="7655653" y="2479238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47" y="5229647"/>
            <a:ext cx="2648505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7227" y="5229647"/>
            <a:ext cx="2648505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09205" y="5229648"/>
            <a:ext cx="2648505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/>
        </p:nvSpPr>
        <p:spPr>
          <a:xfrm>
            <a:off x="3954192" y="2479238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947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7227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9205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8949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17226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009204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01B948B3-DB47-A043-9304-7B7517D269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A4E86421-B524-F343-BE2D-F76DC66259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865B8F1A-8A3E-9B4C-8102-F44E09646749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/>
        </p:nvSpPr>
        <p:spPr>
          <a:xfrm>
            <a:off x="12201984" y="4919082"/>
            <a:ext cx="339668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Línea">
            <a:extLst>
              <a:ext uri="{FF2B5EF4-FFF2-40B4-BE49-F238E27FC236}">
                <a16:creationId xmlns="" xmlns:a16="http://schemas.microsoft.com/office/drawing/2014/main" id="{9DE8E091-AF3D-B544-AF40-44C8999249F5}"/>
              </a:ext>
            </a:extLst>
          </p:cNvPr>
          <p:cNvSpPr/>
          <p:nvPr/>
        </p:nvSpPr>
        <p:spPr>
          <a:xfrm>
            <a:off x="11356217" y="2452454"/>
            <a:ext cx="372201" cy="57207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23145" y="2668950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23145" y="3443908"/>
            <a:ext cx="3166389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6529" y="8488767"/>
            <a:ext cx="11131590" cy="488022"/>
          </a:xfrm>
          <a:prstGeom prst="rect">
            <a:avLst/>
          </a:prstGeom>
        </p:spPr>
        <p:txBody>
          <a:bodyPr anchor="t"/>
          <a:lstStyle>
            <a:lvl1pPr marL="296335" marR="0" indent="-296335" algn="l" defTabSz="1579418" eaLnBrk="1" fontAlgn="auto" latinLnBrk="0" hangingPunct="1">
              <a:lnSpc>
                <a:spcPct val="90000"/>
              </a:lnSpc>
              <a:spcBef>
                <a:spcPts val="130"/>
              </a:spcBef>
              <a:spcAft>
                <a:spcPts val="13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marL="296335" marR="0" lvl="0" indent="-296335" algn="l" defTabSz="1579418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="" xmlns:a16="http://schemas.microsoft.com/office/drawing/2014/main" id="{7E8D1AE2-C96D-944A-9417-52B4E3C75A44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14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/>
        </p:nvSpPr>
        <p:spPr>
          <a:xfrm>
            <a:off x="12249824" y="4895096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9671" y="3126854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/>
        </p:nvSpPr>
        <p:spPr>
          <a:xfrm>
            <a:off x="256927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0837" y="3435055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9671" y="4722509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/>
        </p:nvSpPr>
        <p:spPr>
          <a:xfrm>
            <a:off x="256927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0837" y="5030710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9671" y="6314242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/>
        </p:nvSpPr>
        <p:spPr>
          <a:xfrm>
            <a:off x="2569277" y="6310320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0837" y="6622443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2DC4370E-6F27-3245-98B3-67FCA3D4DD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3FA1E7A8-C92D-2847-B100-27B26CD11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DB4315D6-AD8D-3949-8F34-E00C5056579B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0" name="Línea">
            <a:extLst>
              <a:ext uri="{FF2B5EF4-FFF2-40B4-BE49-F238E27FC236}">
                <a16:creationId xmlns="" xmlns:a16="http://schemas.microsoft.com/office/drawing/2014/main" id="{76F4E9D5-0812-A140-93FE-620B638443FF}"/>
              </a:ext>
            </a:extLst>
          </p:cNvPr>
          <p:cNvSpPr/>
          <p:nvPr/>
        </p:nvSpPr>
        <p:spPr>
          <a:xfrm>
            <a:off x="11099373" y="3113405"/>
            <a:ext cx="372201" cy="4347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38926" y="3277719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38926" y="3952719"/>
            <a:ext cx="3166389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2" name="Marcador de número de diapositiva 1">
            <a:extLst>
              <a:ext uri="{FF2B5EF4-FFF2-40B4-BE49-F238E27FC236}">
                <a16:creationId xmlns="" xmlns:a16="http://schemas.microsoft.com/office/drawing/2014/main" id="{5C893E49-5789-F84C-98C6-FE670ACF291B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66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/>
        </p:nvSpPr>
        <p:spPr>
          <a:xfrm>
            <a:off x="12245701" y="4744472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/>
        </p:nvCxnSpPr>
        <p:spPr>
          <a:xfrm>
            <a:off x="607482" y="4091035"/>
            <a:ext cx="10689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51340" y="2846979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75758" y="2846979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75758" y="2289964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/>
        </p:nvCxnSpPr>
        <p:spPr>
          <a:xfrm>
            <a:off x="3175758" y="2680620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7028" y="2846979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/>
        </p:nvCxnSpPr>
        <p:spPr>
          <a:xfrm>
            <a:off x="607482" y="6153793"/>
            <a:ext cx="10689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51340" y="4909737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75758" y="4909736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75758" y="4352723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/>
        </p:nvCxnSpPr>
        <p:spPr>
          <a:xfrm>
            <a:off x="3175758" y="4743376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97028" y="4909737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51340" y="6973852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75758" y="6973852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75758" y="641683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/>
        </p:nvCxnSpPr>
        <p:spPr>
          <a:xfrm>
            <a:off x="3175758" y="6807494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97028" y="6973852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50D4A3DA-0BFA-9048-A9F2-8AFC5BB14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E3B926F9-52CC-904E-99EC-8EC6F2FC0E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2016285C-15E9-1F48-A0A9-F948CBC44D0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Línea">
            <a:extLst>
              <a:ext uri="{FF2B5EF4-FFF2-40B4-BE49-F238E27FC236}">
                <a16:creationId xmlns="" xmlns:a16="http://schemas.microsoft.com/office/drawing/2014/main" id="{2598575A-8812-4C4C-9DE4-B0E91EF560AE}"/>
              </a:ext>
            </a:extLst>
          </p:cNvPr>
          <p:cNvSpPr/>
          <p:nvPr/>
        </p:nvSpPr>
        <p:spPr>
          <a:xfrm>
            <a:off x="11686476" y="2289963"/>
            <a:ext cx="372201" cy="567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56536" y="2536578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56536" y="3291317"/>
            <a:ext cx="3166389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0" name="Marcador de número de diapositiva 1">
            <a:extLst>
              <a:ext uri="{FF2B5EF4-FFF2-40B4-BE49-F238E27FC236}">
                <a16:creationId xmlns="" xmlns:a16="http://schemas.microsoft.com/office/drawing/2014/main" id="{DE7DDA5A-276E-CB47-A6EE-D8DA276AB5C9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76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645" y="2127352"/>
            <a:ext cx="15004805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Tx/>
              <a:buNone/>
              <a:defRPr sz="155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2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6FF6208-CD08-8E47-9BAA-A863554281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494CAD2D-CD32-1249-958A-65ED5F0923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7040410E-9306-E647-893D-D9EF259D3939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Marcador de número de diapositiva 1">
            <a:extLst>
              <a:ext uri="{FF2B5EF4-FFF2-40B4-BE49-F238E27FC236}">
                <a16:creationId xmlns="" xmlns:a16="http://schemas.microsoft.com/office/drawing/2014/main" id="{3E01F080-8D37-2B47-8812-99327730ED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44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7028" y="2127351"/>
            <a:ext cx="14997518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5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0223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85336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80448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Carta Gantt </a:t>
            </a:r>
            <a:r>
              <a:rPr lang="es-ES" dirty="0" err="1"/>
              <a:t>Think-Cell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5A5B4A9-A45D-694A-AE21-A97E867530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49F44C0-AF22-E34B-AF53-9F0990961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3427E666-AEDB-2248-BBC2-C9F153557C5A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0CCB551E-6858-0549-984C-C96EFB7C6CC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8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9848" y="5784057"/>
            <a:ext cx="13771721" cy="1787723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9848" y="3815062"/>
            <a:ext cx="13771721" cy="1968995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200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4401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6027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8803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60045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3205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504063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7607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943269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con foto o bloque 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565508" cy="90011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5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0223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85336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80448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Foto o Color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5A5B4A9-A45D-694A-AE21-A97E867530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1476226"/>
            <a:ext cx="9529239" cy="5419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457" b="1" i="0">
                <a:solidFill>
                  <a:schemeClr val="bg1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3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49F44C0-AF22-E34B-AF53-9F0990961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2018181"/>
            <a:ext cx="9529239" cy="467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370" b="0" i="0">
                <a:solidFill>
                  <a:schemeClr val="bg2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2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0CCB551E-6858-0549-984C-C96EFB7C6CC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B3BB6947-D06F-8B45-8204-10AC3157CEF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9640" y="628566"/>
            <a:ext cx="1095273" cy="10003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334" b="0" i="0">
                <a:solidFill>
                  <a:schemeClr val="bg2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0623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31076" y="2722917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/>
        </p:nvSpPr>
        <p:spPr>
          <a:xfrm>
            <a:off x="597028" y="2722920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/>
        </p:nvSpPr>
        <p:spPr>
          <a:xfrm>
            <a:off x="3008351" y="2722920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08352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/>
        </p:nvCxnSpPr>
        <p:spPr>
          <a:xfrm>
            <a:off x="3008351" y="2536771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31079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/>
        </p:nvCxnSpPr>
        <p:spPr>
          <a:xfrm>
            <a:off x="5831076" y="2536771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468021" y="2722918"/>
            <a:ext cx="3129089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8021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/>
        </p:nvCxnSpPr>
        <p:spPr>
          <a:xfrm>
            <a:off x="12468021" y="2536771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97701" y="2832619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3137" y="2832619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31076" y="4840828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/>
        </p:nvSpPr>
        <p:spPr>
          <a:xfrm>
            <a:off x="597028" y="4840831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/>
        </p:nvSpPr>
        <p:spPr>
          <a:xfrm>
            <a:off x="3008351" y="4840831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08352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/>
        </p:nvCxnSpPr>
        <p:spPr>
          <a:xfrm>
            <a:off x="3008351" y="4654683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31079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/>
        </p:nvCxnSpPr>
        <p:spPr>
          <a:xfrm>
            <a:off x="5831076" y="4654683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468021" y="4840830"/>
            <a:ext cx="3129089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468021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/>
        </p:nvCxnSpPr>
        <p:spPr>
          <a:xfrm>
            <a:off x="12468021" y="4654683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97701" y="4950530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03137" y="4950530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31076" y="7156845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/>
        </p:nvSpPr>
        <p:spPr>
          <a:xfrm>
            <a:off x="597028" y="7156848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/>
        </p:nvSpPr>
        <p:spPr>
          <a:xfrm>
            <a:off x="3008351" y="7156848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008352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/>
        </p:nvCxnSpPr>
        <p:spPr>
          <a:xfrm>
            <a:off x="3008351" y="6970699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65705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/>
        </p:nvCxnSpPr>
        <p:spPr>
          <a:xfrm>
            <a:off x="5849924" y="6970699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468019" y="7156845"/>
            <a:ext cx="3128777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502648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/>
        </p:nvCxnSpPr>
        <p:spPr>
          <a:xfrm>
            <a:off x="12502650" y="6970699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97701" y="7266547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03137" y="7266547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AF5704FF-A3B1-E84F-83F0-30D6130B06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218A46D2-9BBA-E74F-B136-1ADBF96B71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53" name="Conector recto 52">
            <a:extLst>
              <a:ext uri="{FF2B5EF4-FFF2-40B4-BE49-F238E27FC236}">
                <a16:creationId xmlns="" xmlns:a16="http://schemas.microsoft.com/office/drawing/2014/main" id="{6CB136D2-7C8D-8C41-9006-6F293BB4FC6A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4" name="Marcador de número de diapositiva 1">
            <a:extLst>
              <a:ext uri="{FF2B5EF4-FFF2-40B4-BE49-F238E27FC236}">
                <a16:creationId xmlns="" xmlns:a16="http://schemas.microsoft.com/office/drawing/2014/main" id="{87050FD3-AC61-8749-A7FE-27F946040F5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7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31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/>
        </p:nvSpPr>
        <p:spPr>
          <a:xfrm flipH="1">
            <a:off x="58964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9732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96893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/>
        </p:nvSpPr>
        <p:spPr>
          <a:xfrm flipH="1">
            <a:off x="1239269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36994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85191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/>
        </p:nvSpPr>
        <p:spPr>
          <a:xfrm flipH="1">
            <a:off x="8485189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35276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8226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/>
        </p:nvSpPr>
        <p:spPr>
          <a:xfrm flipH="1">
            <a:off x="453822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72533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9" name="Marcador de texto 7">
            <a:extLst>
              <a:ext uri="{FF2B5EF4-FFF2-40B4-BE49-F238E27FC236}">
                <a16:creationId xmlns="" xmlns:a16="http://schemas.microsoft.com/office/drawing/2014/main" id="{A1ABE1C3-BEBA-4345-89D9-0376A17C72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8CF76F9A-BCE3-1949-84F7-E39C480E440D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9629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538225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485188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402687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="" xmlns:a16="http://schemas.microsoft.com/office/drawing/2014/main" id="{44314748-1970-6449-AEA4-9025EB0E9E8A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08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59225" y="2655556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923" y="2882528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/>
        </p:nvCxnSpPr>
        <p:spPr>
          <a:xfrm>
            <a:off x="5020274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9225" y="4088305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99923" y="4315277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/>
        </p:nvCxnSpPr>
        <p:spPr>
          <a:xfrm>
            <a:off x="5020274" y="4029055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59225" y="5521052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99923" y="5748024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/>
        </p:nvCxnSpPr>
        <p:spPr>
          <a:xfrm>
            <a:off x="5020274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59225" y="6953799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9923" y="7180771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/>
        </p:nvCxnSpPr>
        <p:spPr>
          <a:xfrm>
            <a:off x="5020274" y="689455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DE4BACB2-63A7-8249-90DE-03392B63AF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44C08B65-9BE2-D54E-8B0D-81A8558954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9" name="Conector recto 38">
            <a:extLst>
              <a:ext uri="{FF2B5EF4-FFF2-40B4-BE49-F238E27FC236}">
                <a16:creationId xmlns="" xmlns:a16="http://schemas.microsoft.com/office/drawing/2014/main" id="{8BC3CA20-DA11-6C45-9824-1D2CE9018B0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305828" y="27293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305828" y="4145282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305828" y="5574674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88833" y="700406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="" xmlns:a16="http://schemas.microsoft.com/office/drawing/2014/main" id="{733529AD-8F9F-704C-BA61-C0DBE0ABF1A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036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22516" y="2655556"/>
            <a:ext cx="4803750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3212" y="2882528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/>
        </p:nvCxnSpPr>
        <p:spPr>
          <a:xfrm>
            <a:off x="4783563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22514" y="4088305"/>
            <a:ext cx="479841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3212" y="4315277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/>
        </p:nvCxnSpPr>
        <p:spPr>
          <a:xfrm>
            <a:off x="4783563" y="4044639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22514" y="5521052"/>
            <a:ext cx="479841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63212" y="5748024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/>
        </p:nvCxnSpPr>
        <p:spPr>
          <a:xfrm>
            <a:off x="4783563" y="5477388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22516" y="6953799"/>
            <a:ext cx="480374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63212" y="7180771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/>
        </p:nvCxnSpPr>
        <p:spPr>
          <a:xfrm>
            <a:off x="4783563" y="6910138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168427" y="2655558"/>
            <a:ext cx="4416530" cy="248789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74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168427" y="5463883"/>
            <a:ext cx="4416530" cy="248789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74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288C3D81-70E3-E640-A8F1-5F9BC776E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CA224D2A-463E-F44E-B957-558EF48EEF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2" name="Conector recto 41">
            <a:extLst>
              <a:ext uri="{FF2B5EF4-FFF2-40B4-BE49-F238E27FC236}">
                <a16:creationId xmlns="" xmlns:a16="http://schemas.microsoft.com/office/drawing/2014/main" id="{BAF06C71-4A07-AD43-AFF0-5BD78A7A6B9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69118" y="27293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69118" y="4145283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69118" y="5574676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69118" y="7017553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00EEDD02-633F-6842-BB13-982113D3993C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18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714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17796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9396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6777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714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917796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9396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777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39" name="Marcador de texto 7">
            <a:extLst>
              <a:ext uri="{FF2B5EF4-FFF2-40B4-BE49-F238E27FC236}">
                <a16:creationId xmlns="" xmlns:a16="http://schemas.microsoft.com/office/drawing/2014/main" id="{466CCF29-0BEC-CF49-8626-471840C7F7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2CBCA150-8D1E-DE49-B336-3FC70D12EB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5" name="Conector recto 44">
            <a:extLst>
              <a:ext uri="{FF2B5EF4-FFF2-40B4-BE49-F238E27FC236}">
                <a16:creationId xmlns="" xmlns:a16="http://schemas.microsoft.com/office/drawing/2014/main" id="{B26C482D-061A-5044-85A5-5CD8A73A06F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5711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56775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29395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917793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56775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129395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917793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5711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="" xmlns:a16="http://schemas.microsoft.com/office/drawing/2014/main" id="{A751B183-78E8-E248-BA93-655B946AA986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830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/>
        </p:nvSpPr>
        <p:spPr>
          <a:xfrm flipH="1">
            <a:off x="3309079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5277" y="2248306"/>
            <a:ext cx="10278408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1" name="Administración">
            <a:extLst>
              <a:ext uri="{FF2B5EF4-FFF2-40B4-BE49-F238E27FC236}">
                <a16:creationId xmlns="" xmlns:a16="http://schemas.microsoft.com/office/drawing/2014/main" id="{DFFF51D0-454E-A645-B8F5-D3110BFEC988}"/>
              </a:ext>
            </a:extLst>
          </p:cNvPr>
          <p:cNvSpPr txBox="1"/>
          <p:nvPr/>
        </p:nvSpPr>
        <p:spPr>
          <a:xfrm>
            <a:off x="3328512" y="3768949"/>
            <a:ext cx="2802723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 err="1">
                <a:solidFill>
                  <a:srgbClr val="0C662F"/>
                </a:solidFill>
              </a:rPr>
              <a:t>Administración</a:t>
            </a:r>
            <a:endParaRPr sz="1815" dirty="0">
              <a:solidFill>
                <a:srgbClr val="0C662F"/>
              </a:solidFill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/>
        </p:nvSpPr>
        <p:spPr>
          <a:xfrm>
            <a:off x="2760231" y="3671443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/>
        </p:nvSpPr>
        <p:spPr>
          <a:xfrm>
            <a:off x="2905840" y="3749326"/>
            <a:ext cx="272929" cy="438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1</a:t>
            </a:r>
          </a:p>
        </p:txBody>
      </p:sp>
      <p:sp>
        <p:nvSpPr>
          <p:cNvPr id="45" name="Directorio">
            <a:extLst>
              <a:ext uri="{FF2B5EF4-FFF2-40B4-BE49-F238E27FC236}">
                <a16:creationId xmlns="" xmlns:a16="http://schemas.microsoft.com/office/drawing/2014/main" id="{C65E3301-BF94-954C-9554-3D86E498559B}"/>
              </a:ext>
            </a:extLst>
          </p:cNvPr>
          <p:cNvSpPr txBox="1"/>
          <p:nvPr/>
        </p:nvSpPr>
        <p:spPr>
          <a:xfrm>
            <a:off x="6748991" y="3820649"/>
            <a:ext cx="2790981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>
                <a:solidFill>
                  <a:srgbClr val="616161"/>
                </a:solidFill>
              </a:rPr>
              <a:t>Directorio</a:t>
            </a:r>
          </a:p>
        </p:txBody>
      </p:sp>
      <p:sp>
        <p:nvSpPr>
          <p:cNvPr id="46" name="Entorno">
            <a:extLst>
              <a:ext uri="{FF2B5EF4-FFF2-40B4-BE49-F238E27FC236}">
                <a16:creationId xmlns="" xmlns:a16="http://schemas.microsoft.com/office/drawing/2014/main" id="{6F22C8AB-A0DE-6142-8ACF-8BC05C3A6EE7}"/>
              </a:ext>
            </a:extLst>
          </p:cNvPr>
          <p:cNvSpPr txBox="1"/>
          <p:nvPr/>
        </p:nvSpPr>
        <p:spPr>
          <a:xfrm>
            <a:off x="10126268" y="3819830"/>
            <a:ext cx="2790981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 err="1">
                <a:solidFill>
                  <a:srgbClr val="83B727"/>
                </a:solidFill>
              </a:rPr>
              <a:t>Entorno</a:t>
            </a:r>
            <a:r>
              <a:rPr sz="1815" dirty="0">
                <a:solidFill>
                  <a:srgbClr val="83B727"/>
                </a:solidFill>
              </a:rPr>
              <a:t> 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/>
        </p:nvSpPr>
        <p:spPr>
          <a:xfrm>
            <a:off x="10291786" y="4981702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/>
        </p:nvSpPr>
        <p:spPr>
          <a:xfrm>
            <a:off x="10445527" y="5052331"/>
            <a:ext cx="272929" cy="43877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/>
        </p:nvSpPr>
        <p:spPr>
          <a:xfrm>
            <a:off x="6846055" y="2327379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/>
        </p:nvSpPr>
        <p:spPr>
          <a:xfrm>
            <a:off x="6989078" y="2405259"/>
            <a:ext cx="272929" cy="438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/>
        </p:nvSpPr>
        <p:spPr>
          <a:xfrm flipH="1">
            <a:off x="6705523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/>
        </p:nvSpPr>
        <p:spPr>
          <a:xfrm flipH="1">
            <a:off x="10134979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9079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030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4979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59F91A77-AAFB-8246-B037-70C0522296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4AF21556-34C8-4447-A99A-C7ABAA72FA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EC8D00F7-06EB-B446-AC2E-F2E56521130D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Marcador de número de diapositiva 1">
            <a:extLst>
              <a:ext uri="{FF2B5EF4-FFF2-40B4-BE49-F238E27FC236}">
                <a16:creationId xmlns="" xmlns:a16="http://schemas.microsoft.com/office/drawing/2014/main" id="{77F1C36A-F6D1-9B48-A2F0-3BE8DF3720B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454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/>
        </p:nvSpPr>
        <p:spPr>
          <a:xfrm>
            <a:off x="572483" y="4500562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0146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144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145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/>
        </p:nvSpPr>
        <p:spPr>
          <a:xfrm>
            <a:off x="4365229" y="3421620"/>
            <a:ext cx="3635963" cy="5579507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09878" y="5533080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09876" y="4103903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09879" y="4837416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/>
        </p:nvSpPr>
        <p:spPr>
          <a:xfrm>
            <a:off x="8157976" y="4499024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1037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21034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21036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/>
        </p:nvSpPr>
        <p:spPr>
          <a:xfrm>
            <a:off x="11950723" y="4499024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276962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276959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276961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33E7B0C-2BF9-CF42-AE65-54B68360EE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D37C3DF4-A9F4-DB48-AFB7-1ADAAE0123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C85AF005-9E93-1C48-A207-37CC614AAD1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54204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/>
        </p:nvSpPr>
        <p:spPr>
          <a:xfrm>
            <a:off x="572482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8718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8720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8706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/>
        </p:nvSpPr>
        <p:spPr>
          <a:xfrm>
            <a:off x="4365228" y="3409803"/>
            <a:ext cx="3635963" cy="5621537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8450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51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68438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/>
        </p:nvSpPr>
        <p:spPr>
          <a:xfrm>
            <a:off x="8157974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79609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79609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79597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/>
        </p:nvSpPr>
        <p:spPr>
          <a:xfrm>
            <a:off x="11950722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5533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235534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235522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9DD61A3-4460-0E4F-AE29-66DB80A74B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9499727C-9474-DC4D-A7CF-4C679E3E62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955A6C1-FBA1-4448-AD21-F5BAF615E907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38763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91700" y="2139049"/>
            <a:ext cx="9773216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8625" y="2139051"/>
            <a:ext cx="4782764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92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8625" y="5302324"/>
            <a:ext cx="4782764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92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AFCEC942-1AE9-A54D-A613-F2A385D8D3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5BD8E19-9D05-214B-8930-B30D6E030D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EC1103B2-DBD8-8D43-88A1-B0AABE797C7B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AE1C488-28F1-BC4A-B3BE-EB1F805AEA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133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4554" y="2756596"/>
            <a:ext cx="12784411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89000" y="2756596"/>
            <a:ext cx="12784409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7007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0567" y="833438"/>
            <a:ext cx="9415318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88070" y="833437"/>
            <a:ext cx="5101106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488070" y="4661000"/>
            <a:ext cx="5101106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="" xmlns:a16="http://schemas.microsoft.com/office/drawing/2014/main" id="{3BA05981-6B56-E54C-96D4-EC7E4C86AE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5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02025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bg1"/>
                </a:solidFill>
                <a:highlight>
                  <a:srgbClr val="008000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 </a:t>
            </a:r>
            <a:endParaRPr lang="es-CL" dirty="0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="" xmlns:a16="http://schemas.microsoft.com/office/drawing/2014/main" id="{FC5BAB54-FEEB-5440-A0A2-776A5D9CA13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875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3C0247E7-4182-5B4E-8717-D135BE50D6E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39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_s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54053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2_sin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5096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de Achs2_sin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2334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376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erde Achs2_sin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F2E500"/>
                </a:solidFill>
              </a:rPr>
              <a:pPr/>
              <a:t>‹Nº›</a:t>
            </a:fld>
            <a:endParaRPr lang="es-CL">
              <a:solidFill>
                <a:srgbClr val="F2E5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="" xmlns:a16="http://schemas.microsoft.com/office/drawing/2014/main" id="{B1B8B29D-B62C-374F-BB05-2C31E0897B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013" y="2127352"/>
            <a:ext cx="7493438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707493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Verde Achs2_sin logo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rgbClr val="004D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D5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013" y="2127352"/>
            <a:ext cx="7493438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07694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Verde Achs2_sin logo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rgbClr val="004D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60840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55078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63" b="0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D5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="" xmlns:a16="http://schemas.microsoft.com/office/drawing/2014/main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235781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Verde Achs2_sin logo">
    <p:bg>
      <p:bgPr>
        <a:solidFill>
          <a:schemeClr val="tx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>
              <a:solidFill>
                <a:srgbClr val="FFFFFF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="" xmlns:a16="http://schemas.microsoft.com/office/drawing/2014/main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76515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014836"/>
            <a:ext cx="7158708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101" y="2854523"/>
            <a:ext cx="7158708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30405" y="2014836"/>
            <a:ext cx="7161520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30405" y="2854523"/>
            <a:ext cx="7161520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277246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Verde Achs2_sin logo">
    <p:bg>
      <p:bgPr>
        <a:solidFill>
          <a:schemeClr val="accent4"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rgbClr val="00444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1"/>
            <a:ext cx="11739405" cy="6875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50" b="1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20169"/>
            <a:ext cx="11739405" cy="65439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63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44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2100" b="0" i="0">
                <a:solidFill>
                  <a:srgbClr val="00444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00444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="" xmlns:a16="http://schemas.microsoft.com/office/drawing/2014/main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2100" b="0" i="0">
                <a:solidFill>
                  <a:srgbClr val="00444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00444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152129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Verde Achs2_sin logo">
    <p:bg>
      <p:bgPr>
        <a:solidFill>
          <a:schemeClr val="accent4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="" xmlns:a16="http://schemas.microsoft.com/office/drawing/2014/main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0C662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="" xmlns:a16="http://schemas.microsoft.com/office/drawing/2014/main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0C662F"/>
                </a:solidFill>
              </a:rPr>
              <a:pPr/>
              <a:t>‹Nº›</a:t>
            </a:fld>
            <a:endParaRPr lang="es-CL">
              <a:solidFill>
                <a:srgbClr val="0C662F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rgbClr val="00454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="" xmlns:a16="http://schemas.microsoft.com/office/drawing/2014/main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652898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Gris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64374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02025" cy="9001125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555" b="0" i="0">
                <a:latin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3889" y="8342714"/>
            <a:ext cx="3645456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0-12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66921" y="8342714"/>
            <a:ext cx="5468183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888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3EA3E24-6F21-4D20-B848-6E605E20AC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5253" y="1473101"/>
            <a:ext cx="12151519" cy="3133725"/>
          </a:xfrm>
          <a:prstGeom prst="rect">
            <a:avLst/>
          </a:prstGeom>
        </p:spPr>
        <p:txBody>
          <a:bodyPr anchor="b"/>
          <a:lstStyle>
            <a:lvl1pPr algn="ctr">
              <a:defRPr sz="7778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6FDE8D6F-A942-427F-ACA0-B849618B40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5253" y="4727675"/>
            <a:ext cx="12151519" cy="21731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111" b="0" i="0">
                <a:latin typeface="Arial" panose="020B0604020202020204" pitchFamily="34" charset="0"/>
              </a:defRPr>
            </a:lvl1pPr>
            <a:lvl2pPr marL="592667" indent="0" algn="ctr">
              <a:buNone/>
              <a:defRPr sz="2592"/>
            </a:lvl2pPr>
            <a:lvl3pPr marL="1185336" indent="0" algn="ctr">
              <a:buNone/>
              <a:defRPr sz="2334"/>
            </a:lvl3pPr>
            <a:lvl4pPr marL="1778003" indent="0" algn="ctr">
              <a:buNone/>
              <a:defRPr sz="2074"/>
            </a:lvl4pPr>
            <a:lvl5pPr marL="2370672" indent="0" algn="ctr">
              <a:buNone/>
              <a:defRPr sz="2074"/>
            </a:lvl5pPr>
            <a:lvl6pPr marL="2963339" indent="0" algn="ctr">
              <a:buNone/>
              <a:defRPr sz="2074"/>
            </a:lvl6pPr>
            <a:lvl7pPr marL="3556007" indent="0" algn="ctr">
              <a:buNone/>
              <a:defRPr sz="2074"/>
            </a:lvl7pPr>
            <a:lvl8pPr marL="4148675" indent="0" algn="ctr">
              <a:buNone/>
              <a:defRPr sz="2074"/>
            </a:lvl8pPr>
            <a:lvl9pPr marL="4741343" indent="0" algn="ctr">
              <a:buNone/>
              <a:defRPr sz="2074"/>
            </a:lvl9pPr>
          </a:lstStyle>
          <a:p>
            <a:r>
              <a:rPr lang="es-ES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3DBBB66-A7F8-4D2C-865B-C01D1BD0B9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3889" y="8342711"/>
            <a:ext cx="3645456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0-12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75FCA14-DF25-4509-8F1C-9F4B99B0A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66921" y="8342711"/>
            <a:ext cx="5468183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CD172509-CD18-4A2B-B481-18F6041AD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631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16412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6BEBF2C1-2B32-4C6A-A69D-80D695DA7C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0-12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D5F9BE01-A54C-45B7-8C3F-DD7059309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A4142BCC-61D0-4D08-A9D0-E62317B88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1828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0-12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3245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205820" y="514364"/>
            <a:ext cx="878521" cy="479227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389A5E46-8D5D-474E-B97E-9CC2AA5550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15296" y="4"/>
            <a:ext cx="5686730" cy="9001124"/>
          </a:xfrm>
          <a:custGeom>
            <a:avLst/>
            <a:gdLst>
              <a:gd name="connsiteX0" fmla="*/ 1534407 w 4279256"/>
              <a:gd name="connsiteY0" fmla="*/ 0 h 6857999"/>
              <a:gd name="connsiteX1" fmla="*/ 4279256 w 4279256"/>
              <a:gd name="connsiteY1" fmla="*/ 0 h 6857999"/>
              <a:gd name="connsiteX2" fmla="*/ 4279255 w 4279256"/>
              <a:gd name="connsiteY2" fmla="*/ 6857999 h 6857999"/>
              <a:gd name="connsiteX3" fmla="*/ 1534406 w 4279256"/>
              <a:gd name="connsiteY3" fmla="*/ 6857999 h 6857999"/>
              <a:gd name="connsiteX4" fmla="*/ 1507287 w 4279256"/>
              <a:gd name="connsiteY4" fmla="*/ 6834508 h 6857999"/>
              <a:gd name="connsiteX5" fmla="*/ 0 w 4279256"/>
              <a:gd name="connsiteY5" fmla="*/ 3429000 h 6857999"/>
              <a:gd name="connsiteX6" fmla="*/ 1507287 w 4279256"/>
              <a:gd name="connsiteY6" fmla="*/ 2349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9256" h="6857999">
                <a:moveTo>
                  <a:pt x="1534407" y="0"/>
                </a:moveTo>
                <a:lnTo>
                  <a:pt x="4279256" y="0"/>
                </a:lnTo>
                <a:lnTo>
                  <a:pt x="4279255" y="6857999"/>
                </a:lnTo>
                <a:lnTo>
                  <a:pt x="1534406" y="6857999"/>
                </a:lnTo>
                <a:lnTo>
                  <a:pt x="1507287" y="6834508"/>
                </a:lnTo>
                <a:cubicBezTo>
                  <a:pt x="581329" y="5992915"/>
                  <a:pt x="0" y="4778846"/>
                  <a:pt x="0" y="3429000"/>
                </a:cubicBezTo>
                <a:cubicBezTo>
                  <a:pt x="0" y="2079154"/>
                  <a:pt x="581329" y="865084"/>
                  <a:pt x="1507287" y="234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575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9266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1509" y="514364"/>
            <a:ext cx="667143" cy="479227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870B173A-72FB-4A32-A457-F6EB4C5DD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02025" cy="90011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75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092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69436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5253" y="1473101"/>
            <a:ext cx="12151519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5253" y="4727675"/>
            <a:ext cx="12151519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5850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7876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5450" y="2244032"/>
            <a:ext cx="13974247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50" y="6023671"/>
            <a:ext cx="13974247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800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3889" y="2396133"/>
            <a:ext cx="6885861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2275" y="2396133"/>
            <a:ext cx="6885861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9411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999" y="479227"/>
            <a:ext cx="13974247" cy="17398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6000" y="2206526"/>
            <a:ext cx="685421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6000" y="3287911"/>
            <a:ext cx="6854215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02275" y="2206526"/>
            <a:ext cx="6887971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02275" y="3287911"/>
            <a:ext cx="6887971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8080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497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72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000" y="600075"/>
            <a:ext cx="5225574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7971" y="1295996"/>
            <a:ext cx="8202275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6000" y="2700338"/>
            <a:ext cx="5225574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7829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000" y="600075"/>
            <a:ext cx="5225574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87971" y="1295996"/>
            <a:ext cx="8202275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6000" y="2700338"/>
            <a:ext cx="5225574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4362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75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660790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594574" y="479227"/>
            <a:ext cx="3493562" cy="7628037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3889" y="479227"/>
            <a:ext cx="10278160" cy="7628037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061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2" y="358378"/>
            <a:ext cx="5330355" cy="152519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4542" y="358379"/>
            <a:ext cx="9057382" cy="7682211"/>
          </a:xfrm>
        </p:spPr>
        <p:txBody>
          <a:bodyPr/>
          <a:lstStyle>
            <a:lvl1pPr>
              <a:defRPr sz="50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0102" y="1883570"/>
            <a:ext cx="5330355" cy="6157020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46041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710" y="6300787"/>
            <a:ext cx="9721215" cy="743844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75710" y="804267"/>
            <a:ext cx="9721215" cy="5400675"/>
          </a:xfrm>
        </p:spPr>
        <p:txBody>
          <a:bodyPr/>
          <a:lstStyle>
            <a:lvl1pPr marL="0" indent="0">
              <a:buNone/>
              <a:defRPr sz="5000"/>
            </a:lvl1pPr>
            <a:lvl2pPr marL="720090" indent="0">
              <a:buNone/>
              <a:defRPr sz="4400"/>
            </a:lvl2pPr>
            <a:lvl3pPr marL="1440180" indent="0">
              <a:buNone/>
              <a:defRPr sz="3800"/>
            </a:lvl3pPr>
            <a:lvl4pPr marL="2160270" indent="0">
              <a:buNone/>
              <a:defRPr sz="3200"/>
            </a:lvl4pPr>
            <a:lvl5pPr marL="2880360" indent="0">
              <a:buNone/>
              <a:defRPr sz="3200"/>
            </a:lvl5pPr>
            <a:lvl6pPr marL="3600450" indent="0">
              <a:buNone/>
              <a:defRPr sz="3200"/>
            </a:lvl6pPr>
            <a:lvl7pPr marL="4320540" indent="0">
              <a:buNone/>
              <a:defRPr sz="3200"/>
            </a:lvl7pPr>
            <a:lvl8pPr marL="5040630" indent="0">
              <a:buNone/>
              <a:defRPr sz="3200"/>
            </a:lvl8pPr>
            <a:lvl9pPr marL="5760720" indent="0">
              <a:buNone/>
              <a:defRPr sz="3200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710" y="7044631"/>
            <a:ext cx="9721215" cy="1056381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59494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100263"/>
            <a:ext cx="14581823" cy="5940326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10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F7606-8703-4774-82E4-4A2AAF776758}" type="datetimeFigureOut">
              <a:rPr lang="es-CL" smtClean="0"/>
              <a:t>20-12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5692" y="8342710"/>
            <a:ext cx="5130641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45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4712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440180" rtl="0" eaLnBrk="1" latinLnBrk="0" hangingPunct="1"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0068" indent="-540068" algn="l" defTabSz="1440180" rtl="0" eaLnBrk="1" latinLnBrk="0" hangingPunct="1">
        <a:spcBef>
          <a:spcPct val="20000"/>
        </a:spcBef>
        <a:buFont typeface="Arial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1pPr>
      <a:lvl2pPr marL="1170146" indent="-450056" algn="l" defTabSz="1440180" rtl="0" eaLnBrk="1" latinLnBrk="0" hangingPunct="1">
        <a:spcBef>
          <a:spcPct val="20000"/>
        </a:spcBef>
        <a:buFont typeface="Arial" pitchFamily="34" charset="0"/>
        <a:buChar char="–"/>
        <a:defRPr sz="4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22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315" indent="-360045" algn="l" defTabSz="1440180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40405" indent="-360045" algn="l" defTabSz="1440180" rtl="0" eaLnBrk="1" latinLnBrk="0" hangingPunct="1">
        <a:spcBef>
          <a:spcPct val="20000"/>
        </a:spcBef>
        <a:buFont typeface="Arial" pitchFamily="34" charset="0"/>
        <a:buChar char="»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96049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68058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67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76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9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27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45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54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4063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72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100263"/>
            <a:ext cx="14581823" cy="5940326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101" y="8342711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 defTabSz="1200150"/>
              <a:t>20-12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5692" y="8342711"/>
            <a:ext cx="5130641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451" y="8342711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 defTabSz="1200150"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12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xStyles>
    <p:titleStyle>
      <a:lvl1pPr algn="ctr" defTabSz="1422402" rtl="0" eaLnBrk="1" latinLnBrk="0" hangingPunct="1">
        <a:spcBef>
          <a:spcPct val="0"/>
        </a:spcBef>
        <a:buNone/>
        <a:defRPr sz="6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3401" indent="-533401" algn="l" defTabSz="1422402" rtl="0" eaLnBrk="1" latinLnBrk="0" hangingPunct="1">
        <a:spcBef>
          <a:spcPct val="20000"/>
        </a:spcBef>
        <a:buFont typeface="Arial" pitchFamily="34" charset="0"/>
        <a:buChar char="•"/>
        <a:defRPr sz="4939" kern="1200">
          <a:solidFill>
            <a:schemeClr val="tx1"/>
          </a:solidFill>
          <a:latin typeface="+mn-lt"/>
          <a:ea typeface="+mn-ea"/>
          <a:cs typeface="+mn-cs"/>
        </a:defRPr>
      </a:lvl1pPr>
      <a:lvl2pPr marL="1155702" indent="-444500" algn="l" defTabSz="1422402" rtl="0" eaLnBrk="1" latinLnBrk="0" hangingPunct="1">
        <a:spcBef>
          <a:spcPct val="20000"/>
        </a:spcBef>
        <a:buFont typeface="Arial" pitchFamily="34" charset="0"/>
        <a:buChar char="–"/>
        <a:defRPr sz="4346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3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754" kern="1200">
          <a:solidFill>
            <a:schemeClr val="tx1"/>
          </a:solidFill>
          <a:latin typeface="+mn-lt"/>
          <a:ea typeface="+mn-ea"/>
          <a:cs typeface="+mn-cs"/>
        </a:defRPr>
      </a:lvl3pPr>
      <a:lvl4pPr marL="2489205" indent="-355601" algn="l" defTabSz="1422402" rtl="0" eaLnBrk="1" latinLnBrk="0" hangingPunct="1">
        <a:spcBef>
          <a:spcPct val="20000"/>
        </a:spcBef>
        <a:buFont typeface="Arial" pitchFamily="34" charset="0"/>
        <a:buChar char="–"/>
        <a:defRPr sz="3161" kern="1200">
          <a:solidFill>
            <a:schemeClr val="tx1"/>
          </a:solidFill>
          <a:latin typeface="+mn-lt"/>
          <a:ea typeface="+mn-ea"/>
          <a:cs typeface="+mn-cs"/>
        </a:defRPr>
      </a:lvl4pPr>
      <a:lvl5pPr marL="3200407" indent="-355601" algn="l" defTabSz="1422402" rtl="0" eaLnBrk="1" latinLnBrk="0" hangingPunct="1">
        <a:spcBef>
          <a:spcPct val="20000"/>
        </a:spcBef>
        <a:buFont typeface="Arial" pitchFamily="34" charset="0"/>
        <a:buChar char="»"/>
        <a:defRPr sz="3161" kern="1200">
          <a:solidFill>
            <a:schemeClr val="tx1"/>
          </a:solidFill>
          <a:latin typeface="+mn-lt"/>
          <a:ea typeface="+mn-ea"/>
          <a:cs typeface="+mn-cs"/>
        </a:defRPr>
      </a:lvl5pPr>
      <a:lvl6pPr marL="3911607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6pPr>
      <a:lvl7pPr marL="4622809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7pPr>
      <a:lvl8pPr marL="5334011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8pPr>
      <a:lvl9pPr marL="6045212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711202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2pPr>
      <a:lvl3pPr marL="1422402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4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4pPr>
      <a:lvl5pPr marL="2844806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5pPr>
      <a:lvl6pPr marL="3556007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6pPr>
      <a:lvl7pPr marL="4267208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7pPr>
      <a:lvl8pPr marL="4978410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8pPr>
      <a:lvl9pPr marL="5689611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89" y="479227"/>
            <a:ext cx="13974247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89" y="2396133"/>
            <a:ext cx="13974247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3889" y="8342710"/>
            <a:ext cx="3645456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66921" y="8342710"/>
            <a:ext cx="5468183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2680" y="8342710"/>
            <a:ext cx="3645456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91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8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9.xml"/><Relationship Id="rId6" Type="http://schemas.openxmlformats.org/officeDocument/2006/relationships/image" Target="../media/image43.jpg"/><Relationship Id="rId5" Type="http://schemas.openxmlformats.org/officeDocument/2006/relationships/image" Target="../media/image42.png"/><Relationship Id="rId4" Type="http://schemas.openxmlformats.org/officeDocument/2006/relationships/image" Target="../media/image41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0.xml"/><Relationship Id="rId5" Type="http://schemas.openxmlformats.org/officeDocument/2006/relationships/image" Target="../media/image43.jp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1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2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3.xml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4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5.xml"/><Relationship Id="rId5" Type="http://schemas.openxmlformats.org/officeDocument/2006/relationships/image" Target="../media/image39.tiff"/><Relationship Id="rId4" Type="http://schemas.openxmlformats.org/officeDocument/2006/relationships/image" Target="../media/image4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7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8.xml"/><Relationship Id="rId5" Type="http://schemas.openxmlformats.org/officeDocument/2006/relationships/image" Target="../media/image39.tiff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9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0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1.xml"/><Relationship Id="rId4" Type="http://schemas.openxmlformats.org/officeDocument/2006/relationships/image" Target="../media/image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19.png"/><Relationship Id="rId7" Type="http://schemas.openxmlformats.org/officeDocument/2006/relationships/image" Target="../media/image54.tif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3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4.xml"/><Relationship Id="rId5" Type="http://schemas.openxmlformats.org/officeDocument/2006/relationships/image" Target="../media/image56.png"/><Relationship Id="rId4" Type="http://schemas.openxmlformats.org/officeDocument/2006/relationships/image" Target="../media/image3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46.xml"/><Relationship Id="rId6" Type="http://schemas.openxmlformats.org/officeDocument/2006/relationships/image" Target="../media/image59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47.xml"/><Relationship Id="rId6" Type="http://schemas.openxmlformats.org/officeDocument/2006/relationships/image" Target="../media/image60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iff"/><Relationship Id="rId3" Type="http://schemas.openxmlformats.org/officeDocument/2006/relationships/image" Target="../media/image19.png"/><Relationship Id="rId7" Type="http://schemas.openxmlformats.org/officeDocument/2006/relationships/image" Target="../media/image29.tif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.xml"/><Relationship Id="rId6" Type="http://schemas.openxmlformats.org/officeDocument/2006/relationships/image" Target="../media/image28.tiff"/><Relationship Id="rId5" Type="http://schemas.openxmlformats.org/officeDocument/2006/relationships/image" Target="../media/image27.tiff"/><Relationship Id="rId4" Type="http://schemas.openxmlformats.org/officeDocument/2006/relationships/image" Target="../media/image26.tiff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1.xml"/><Relationship Id="rId6" Type="http://schemas.openxmlformats.org/officeDocument/2006/relationships/image" Target="../media/image34.jpe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2.xml"/><Relationship Id="rId5" Type="http://schemas.openxmlformats.org/officeDocument/2006/relationships/image" Target="../media/image36.jp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3.xml"/><Relationship Id="rId4" Type="http://schemas.openxmlformats.org/officeDocument/2006/relationships/image" Target="../media/image3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4.xml"/><Relationship Id="rId4" Type="http://schemas.openxmlformats.org/officeDocument/2006/relationships/image" Target="../media/image3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8A2EA889-A432-7844-98BC-0926DE3D0223}"/>
              </a:ext>
            </a:extLst>
          </p:cNvPr>
          <p:cNvSpPr/>
          <p:nvPr/>
        </p:nvSpPr>
        <p:spPr>
          <a:xfrm>
            <a:off x="36116" y="-35942"/>
            <a:ext cx="16381932" cy="904582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sp>
        <p:nvSpPr>
          <p:cNvPr id="12" name="Marcador de texto 1">
            <a:extLst>
              <a:ext uri="{FF2B5EF4-FFF2-40B4-BE49-F238E27FC236}">
                <a16:creationId xmlns="" xmlns:a16="http://schemas.microsoft.com/office/drawing/2014/main" id="{D320DF5E-4121-4C49-A167-D91BC40738E8}"/>
              </a:ext>
            </a:extLst>
          </p:cNvPr>
          <p:cNvSpPr txBox="1">
            <a:spLocks/>
          </p:cNvSpPr>
          <p:nvPr/>
        </p:nvSpPr>
        <p:spPr>
          <a:xfrm>
            <a:off x="7075689" y="6300762"/>
            <a:ext cx="8064897" cy="1582173"/>
          </a:xfrm>
          <a:prstGeom prst="rect">
            <a:avLst/>
          </a:prstGeom>
        </p:spPr>
        <p:txBody>
          <a:bodyPr vert="horz" lIns="120015" tIns="60008" rIns="120015" bIns="60008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4400" dirty="0">
              <a:solidFill>
                <a:srgbClr val="0C662F"/>
              </a:solidFill>
              <a:latin typeface="ACHS Nueva Serif" pitchFamily="2" charset="77"/>
            </a:endParaRPr>
          </a:p>
          <a:p>
            <a:pPr algn="l"/>
            <a:r>
              <a:rPr lang="es-MX" sz="4400" dirty="0">
                <a:solidFill>
                  <a:srgbClr val="0C662F"/>
                </a:solidFill>
                <a:latin typeface="ACHS Nueva Serif" pitchFamily="2" charset="77"/>
              </a:rPr>
              <a:t>DIFUSIÓN PROTOCOLO DE EXPOSICIÓN OCUPACIONAL A RUIDO - PREXOR</a:t>
            </a:r>
          </a:p>
          <a:p>
            <a:pPr algn="l"/>
            <a:endParaRPr lang="es-CL" sz="4400" dirty="0">
              <a:solidFill>
                <a:srgbClr val="0C662F"/>
              </a:solidFill>
              <a:latin typeface="ACHS Nueva Serif" pitchFamily="2" charset="77"/>
            </a:endParaRPr>
          </a:p>
        </p:txBody>
      </p:sp>
      <p:pic>
        <p:nvPicPr>
          <p:cNvPr id="11" name="Imagen 14">
            <a:extLst>
              <a:ext uri="{FF2B5EF4-FFF2-40B4-BE49-F238E27FC236}">
                <a16:creationId xmlns="" xmlns:a16="http://schemas.microsoft.com/office/drawing/2014/main" id="{33D63F6E-A8D1-0F41-BD76-639E1F65D7E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3962" y="526896"/>
            <a:ext cx="1093874" cy="171056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092900" y="5328135"/>
            <a:ext cx="10390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>
                <a:solidFill>
                  <a:srgbClr val="0C662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la:</a:t>
            </a:r>
          </a:p>
        </p:txBody>
      </p:sp>
      <p:pic>
        <p:nvPicPr>
          <p:cNvPr id="7" name="Picture 2" descr="F:\ACHS\111_Maestro\wetransfer-93e533\003-Construcción-Baja\800_5395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8760"/>
            <a:ext cx="6349365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6A56F127-F79B-014A-A790-DEFF67DDB15B}"/>
              </a:ext>
            </a:extLst>
          </p:cNvPr>
          <p:cNvSpPr/>
          <p:nvPr/>
        </p:nvSpPr>
        <p:spPr>
          <a:xfrm>
            <a:off x="7092901" y="5457401"/>
            <a:ext cx="2855268" cy="484328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A08B2DE-5AEB-F349-BCBA-532312E46673}"/>
              </a:ext>
            </a:extLst>
          </p:cNvPr>
          <p:cNvSpPr/>
          <p:nvPr/>
        </p:nvSpPr>
        <p:spPr>
          <a:xfrm>
            <a:off x="7092900" y="5457401"/>
            <a:ext cx="2852063" cy="4555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99431">
              <a:defRPr/>
            </a:pPr>
            <a:r>
              <a:rPr lang="es-ES" sz="2360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2360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2360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931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="" xmlns:a16="http://schemas.microsoft.com/office/drawing/2014/main" id="{9B1D844C-521A-134B-9192-82A17AAEAE48}"/>
              </a:ext>
            </a:extLst>
          </p:cNvPr>
          <p:cNvSpPr/>
          <p:nvPr/>
        </p:nvSpPr>
        <p:spPr>
          <a:xfrm>
            <a:off x="4716636" y="2005250"/>
            <a:ext cx="10153128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establece un plazo para la implementación de soluciones de control de ruido, en función de la Dosis de Ruido Diarias obtenidas en la evaluación cuantitativa, de acuerdo  a:</a:t>
            </a:r>
          </a:p>
          <a:p>
            <a:pPr marL="12700" marR="5080" algn="just"/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Periodicidad</a:t>
            </a:r>
            <a:r>
              <a:rPr lang="es-CL" sz="2000" dirty="0"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las evaluaciones ambientales será de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3 años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aquellas exposiciones ocupacionales, cuyas dosis de ruido diarias sean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menores a la Dosis de Acción de 0.5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marR="508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lazo máximo de 1 año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implementar medidas de control, si la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osis de ruido diaria</a:t>
            </a:r>
            <a:r>
              <a:rPr lang="es-CL" sz="2000" dirty="0"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se  encuentra entre  0,5 y 10 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(10 veces la DMP=1)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marR="508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lazo máximo de 6 meses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implementar medidas de control, si la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osis de ruido diaria resulta sobre el valor 10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(10 veces la DMP=1) ó si se constata la presencia de ruido  impulsivo de magnitud mayor a 135 dB (C) peak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 caso que se compruebe que no se ha efectuado ninguna gestión respecto al riesgo, el OAL deberá  informar de dicha situación a la Autoridad Sanitaria Regional que corresponda y no se debe re-evaluar  la condición de exposición. Plazo se inicia en la fecha de entrega de la evaluación cuantitativa, que a  su vez tiene un plazo de entrega de 30 días, luego de efectuadas las mediciones ambientales.</a:t>
            </a:r>
          </a:p>
          <a:p>
            <a:pPr marL="12700" marR="5080" algn="just"/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Plazos para la implementación de medidas de control según PREXOR:</a:t>
            </a:r>
          </a:p>
          <a:p>
            <a:endParaRPr lang="es-CL" sz="2100" b="1" dirty="0">
              <a:solidFill>
                <a:srgbClr val="0C662F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505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="" xmlns:a16="http://schemas.microsoft.com/office/drawing/2014/main" id="{AB60DADE-3654-0743-9BAF-01ADA983D748}"/>
              </a:ext>
            </a:extLst>
          </p:cNvPr>
          <p:cNvSpPr/>
          <p:nvPr/>
        </p:nvSpPr>
        <p:spPr>
          <a:xfrm>
            <a:off x="4716636" y="2005250"/>
            <a:ext cx="9865095" cy="4426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887094" algn="just">
              <a:lnSpc>
                <a:spcPct val="100000"/>
              </a:lnSpc>
              <a:spcBef>
                <a:spcPts val="1350"/>
              </a:spcBef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PREXOR debe ser difundido y conocido al interior de las empresas,  en los distintos niveles jerárquicos, tales como:</a:t>
            </a:r>
          </a:p>
          <a:p>
            <a:pPr algn="just">
              <a:lnSpc>
                <a:spcPct val="100000"/>
              </a:lnSpc>
              <a:spcBef>
                <a:spcPts val="2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mpleadores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Trabajadores en general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xpertos en Prevención de Riesgos.</a:t>
            </a:r>
          </a:p>
          <a:p>
            <a:pPr marL="441325" indent="-441325" algn="just">
              <a:lnSpc>
                <a:spcPct val="100000"/>
              </a:lnSpc>
              <a:spcBef>
                <a:spcPts val="5"/>
              </a:spcBef>
              <a:buFont typeface="Arial" panose="020B0604020202020204" pitchFamily="34" charset="0"/>
              <a:buChar char="•"/>
            </a:pPr>
            <a:r>
              <a:rPr lang="es-CL" sz="2000" b="1" dirty="0">
                <a:solidFill>
                  <a:srgbClr val="0C662F"/>
                </a:solidFill>
                <a:latin typeface="ACHS Nueva Sans Medium" pitchFamily="2" charset="77"/>
                <a:cs typeface="Calibri" panose="020F0502020204030204" pitchFamily="34" charset="0"/>
              </a:rPr>
              <a:t>Miembros del comité paritario de las empresas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rigentes Sindicales.</a:t>
            </a:r>
          </a:p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821690">
              <a:lnSpc>
                <a:spcPct val="100000"/>
              </a:lnSpc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difusión del PREXOR debe quedar acreditada mediante una «Acta», que indique su realización e incluya a todas las personas que tomaron conocimiento del PREXOR, la cual debe ser remitida a la Autoridad Sanitaria Regional  y a la Inspección del Trabajo correspondiente.</a:t>
            </a:r>
          </a:p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095A6FDA-DBD3-3440-B6E3-898D61FE60EA}"/>
              </a:ext>
            </a:extLst>
          </p:cNvPr>
          <p:cNvSpPr txBox="1">
            <a:spLocks/>
          </p:cNvSpPr>
          <p:nvPr/>
        </p:nvSpPr>
        <p:spPr>
          <a:xfrm>
            <a:off x="-1620068" y="648323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Difus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1664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="" xmlns:a16="http://schemas.microsoft.com/office/drawing/2014/main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="" xmlns:a16="http://schemas.microsoft.com/office/drawing/2014/main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="" xmlns:a16="http://schemas.microsoft.com/office/drawing/2014/main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="" xmlns:a16="http://schemas.microsoft.com/office/drawing/2014/main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="" xmlns:a16="http://schemas.microsoft.com/office/drawing/2014/main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="" xmlns:a16="http://schemas.microsoft.com/office/drawing/2014/main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="" xmlns:a16="http://schemas.microsoft.com/office/drawing/2014/main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="" xmlns:a16="http://schemas.microsoft.com/office/drawing/2014/main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="" xmlns:a16="http://schemas.microsoft.com/office/drawing/2014/main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="" xmlns:a16="http://schemas.microsoft.com/office/drawing/2014/main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="" xmlns:a16="http://schemas.microsoft.com/office/drawing/2014/main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="" xmlns:a16="http://schemas.microsoft.com/office/drawing/2014/main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="" xmlns:a16="http://schemas.microsoft.com/office/drawing/2014/main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="" xmlns:a16="http://schemas.microsoft.com/office/drawing/2014/main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="" xmlns:a16="http://schemas.microsoft.com/office/drawing/2014/main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BCDB4C37-7181-CB49-81EC-EE87B1D850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113AC244-AAA8-F24E-89EC-BB740D3E81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3426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Herramienta para la mejora continua de la condición de riesgo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object 5">
            <a:extLst>
              <a:ext uri="{FF2B5EF4-FFF2-40B4-BE49-F238E27FC236}">
                <a16:creationId xmlns="" xmlns:a16="http://schemas.microsoft.com/office/drawing/2014/main" id="{72BFA3AE-BAFC-E34A-A320-54DC2E67DBCD}"/>
              </a:ext>
            </a:extLst>
          </p:cNvPr>
          <p:cNvSpPr/>
          <p:nvPr/>
        </p:nvSpPr>
        <p:spPr>
          <a:xfrm>
            <a:off x="7336204" y="433249"/>
            <a:ext cx="4335879" cy="480043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7">
            <a:extLst>
              <a:ext uri="{FF2B5EF4-FFF2-40B4-BE49-F238E27FC236}">
                <a16:creationId xmlns="" xmlns:a16="http://schemas.microsoft.com/office/drawing/2014/main" id="{04E8A302-4D51-BE42-A816-6679D92AAF04}"/>
              </a:ext>
            </a:extLst>
          </p:cNvPr>
          <p:cNvSpPr/>
          <p:nvPr/>
        </p:nvSpPr>
        <p:spPr>
          <a:xfrm>
            <a:off x="4333394" y="3804581"/>
            <a:ext cx="4335879" cy="480043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5">
            <a:extLst>
              <a:ext uri="{FF2B5EF4-FFF2-40B4-BE49-F238E27FC236}">
                <a16:creationId xmlns="" xmlns:a16="http://schemas.microsoft.com/office/drawing/2014/main" id="{99D2731E-83C3-6C4D-ACD7-90BB95FBD099}"/>
              </a:ext>
            </a:extLst>
          </p:cNvPr>
          <p:cNvSpPr/>
          <p:nvPr/>
        </p:nvSpPr>
        <p:spPr>
          <a:xfrm>
            <a:off x="11477337" y="3790706"/>
            <a:ext cx="4335879" cy="480043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64835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Herramienta para la mejora continua de la condición de riesgo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object 7">
            <a:extLst>
              <a:ext uri="{FF2B5EF4-FFF2-40B4-BE49-F238E27FC236}">
                <a16:creationId xmlns="" xmlns:a16="http://schemas.microsoft.com/office/drawing/2014/main" id="{B57EDBE9-B5F7-D744-96B6-4C19D401A46E}"/>
              </a:ext>
            </a:extLst>
          </p:cNvPr>
          <p:cNvSpPr/>
          <p:nvPr/>
        </p:nvSpPr>
        <p:spPr>
          <a:xfrm>
            <a:off x="4523770" y="2030576"/>
            <a:ext cx="5040000" cy="558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5">
            <a:extLst>
              <a:ext uri="{FF2B5EF4-FFF2-40B4-BE49-F238E27FC236}">
                <a16:creationId xmlns="" xmlns:a16="http://schemas.microsoft.com/office/drawing/2014/main" id="{C5C4F25F-7FED-5941-851D-701A718DB170}"/>
              </a:ext>
            </a:extLst>
          </p:cNvPr>
          <p:cNvSpPr/>
          <p:nvPr/>
        </p:nvSpPr>
        <p:spPr>
          <a:xfrm>
            <a:off x="10459332" y="2030576"/>
            <a:ext cx="5040000" cy="5580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4620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="" xmlns:a16="http://schemas.microsoft.com/office/drawing/2014/main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="" xmlns:a16="http://schemas.microsoft.com/office/drawing/2014/main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="" xmlns:a16="http://schemas.microsoft.com/office/drawing/2014/main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="" xmlns:a16="http://schemas.microsoft.com/office/drawing/2014/main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="" xmlns:a16="http://schemas.microsoft.com/office/drawing/2014/main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="" xmlns:a16="http://schemas.microsoft.com/office/drawing/2014/main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="" xmlns:a16="http://schemas.microsoft.com/office/drawing/2014/main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="" xmlns:a16="http://schemas.microsoft.com/office/drawing/2014/main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="" xmlns:a16="http://schemas.microsoft.com/office/drawing/2014/main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="" xmlns:a16="http://schemas.microsoft.com/office/drawing/2014/main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="" xmlns:a16="http://schemas.microsoft.com/office/drawing/2014/main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BC3C953-36E9-834B-A916-13A1D161C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="" xmlns:a16="http://schemas.microsoft.com/office/drawing/2014/main" id="{02F5711C-1E9C-5F4F-AE30-9E3CE02DA3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  <p:sp>
        <p:nvSpPr>
          <p:cNvPr id="61" name="Triangle 60">
            <a:extLst>
              <a:ext uri="{FF2B5EF4-FFF2-40B4-BE49-F238E27FC236}">
                <a16:creationId xmlns="" xmlns:a16="http://schemas.microsoft.com/office/drawing/2014/main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="" xmlns:a16="http://schemas.microsoft.com/office/drawing/2014/main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="" xmlns:a16="http://schemas.microsoft.com/office/drawing/2014/main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="" xmlns:a16="http://schemas.microsoft.com/office/drawing/2014/main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552428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="" xmlns:a16="http://schemas.microsoft.com/office/drawing/2014/main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="" xmlns:a16="http://schemas.microsoft.com/office/drawing/2014/main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="" xmlns:a16="http://schemas.microsoft.com/office/drawing/2014/main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="" xmlns:a16="http://schemas.microsoft.com/office/drawing/2014/main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="" xmlns:a16="http://schemas.microsoft.com/office/drawing/2014/main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="" xmlns:a16="http://schemas.microsoft.com/office/drawing/2014/main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="" xmlns:a16="http://schemas.microsoft.com/office/drawing/2014/main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="" xmlns:a16="http://schemas.microsoft.com/office/drawing/2014/main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="" xmlns:a16="http://schemas.microsoft.com/office/drawing/2014/main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="" xmlns:a16="http://schemas.microsoft.com/office/drawing/2014/main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="" xmlns:a16="http://schemas.microsoft.com/office/drawing/2014/main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="" xmlns:a16="http://schemas.microsoft.com/office/drawing/2014/main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="" xmlns:a16="http://schemas.microsoft.com/office/drawing/2014/main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="" xmlns:a16="http://schemas.microsoft.com/office/drawing/2014/main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="" xmlns:a16="http://schemas.microsoft.com/office/drawing/2014/main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FE0EEFC5-7B9F-2042-9A06-FD544C885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0D94D442-2080-2D45-BC01-35F05A9E53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4409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object 6">
            <a:extLst>
              <a:ext uri="{FF2B5EF4-FFF2-40B4-BE49-F238E27FC236}">
                <a16:creationId xmlns="" xmlns:a16="http://schemas.microsoft.com/office/drawing/2014/main" id="{17E31746-E798-8D4E-A60B-AFFA9CC2FFA3}"/>
              </a:ext>
            </a:extLst>
          </p:cNvPr>
          <p:cNvSpPr/>
          <p:nvPr/>
        </p:nvSpPr>
        <p:spPr>
          <a:xfrm>
            <a:off x="5868764" y="3636466"/>
            <a:ext cx="7632848" cy="48245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Rectángulo 1">
            <a:extLst>
              <a:ext uri="{FF2B5EF4-FFF2-40B4-BE49-F238E27FC236}">
                <a16:creationId xmlns="" xmlns:a16="http://schemas.microsoft.com/office/drawing/2014/main" id="{E17268D0-1603-4046-97FC-32232521D4C8}"/>
              </a:ext>
            </a:extLst>
          </p:cNvPr>
          <p:cNvSpPr/>
          <p:nvPr/>
        </p:nvSpPr>
        <p:spPr>
          <a:xfrm>
            <a:off x="4523771" y="1733521"/>
            <a:ext cx="991394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Estudio previo:</a:t>
            </a:r>
          </a:p>
          <a:p>
            <a:pPr marL="12700" algn="just">
              <a:lnSpc>
                <a:spcPct val="100000"/>
              </a:lnSpc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>
              <a:lnSpc>
                <a:spcPct val="100000"/>
              </a:lnSpc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empresa debe levantar la información necesaria para las evaluaciones en su «Estudio Previo», esto se solicita como parte del sistema de gestión que PREXOR  establece que la empresa debe desarrolla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6219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="" xmlns:a16="http://schemas.microsoft.com/office/drawing/2014/main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="" xmlns:a16="http://schemas.microsoft.com/office/drawing/2014/main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="" xmlns:a16="http://schemas.microsoft.com/office/drawing/2014/main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="" xmlns:a16="http://schemas.microsoft.com/office/drawing/2014/main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="" xmlns:a16="http://schemas.microsoft.com/office/drawing/2014/main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="" xmlns:a16="http://schemas.microsoft.com/office/drawing/2014/main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="" xmlns:a16="http://schemas.microsoft.com/office/drawing/2014/main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="" xmlns:a16="http://schemas.microsoft.com/office/drawing/2014/main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="" xmlns:a16="http://schemas.microsoft.com/office/drawing/2014/main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="" xmlns:a16="http://schemas.microsoft.com/office/drawing/2014/main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="" xmlns:a16="http://schemas.microsoft.com/office/drawing/2014/main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="" xmlns:a16="http://schemas.microsoft.com/office/drawing/2014/main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="" xmlns:a16="http://schemas.microsoft.com/office/drawing/2014/main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="" xmlns:a16="http://schemas.microsoft.com/office/drawing/2014/main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="" xmlns:a16="http://schemas.microsoft.com/office/drawing/2014/main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08E079CC-0D0C-DE44-8E63-19183305C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43845625-1B31-7649-97A9-53F41B6451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56842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" name="object 4">
            <a:extLst>
              <a:ext uri="{FF2B5EF4-FFF2-40B4-BE49-F238E27FC236}">
                <a16:creationId xmlns="" xmlns:a16="http://schemas.microsoft.com/office/drawing/2014/main" id="{77F2649F-DB05-5540-A268-5611B59B2CA7}"/>
              </a:ext>
            </a:extLst>
          </p:cNvPr>
          <p:cNvSpPr txBox="1"/>
          <p:nvPr/>
        </p:nvSpPr>
        <p:spPr>
          <a:xfrm>
            <a:off x="8173356" y="1943480"/>
            <a:ext cx="30240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5" dirty="0">
                <a:solidFill>
                  <a:srgbClr val="FFFFFF"/>
                </a:solidFill>
                <a:latin typeface="Trebuchet MS"/>
                <a:cs typeface="Trebuchet MS"/>
              </a:rPr>
              <a:t>SISTEMA </a:t>
            </a:r>
            <a:r>
              <a:rPr sz="2400" b="1" spc="-85" dirty="0">
                <a:solidFill>
                  <a:srgbClr val="FFFFFF"/>
                </a:solidFill>
                <a:latin typeface="Trebuchet MS"/>
                <a:cs typeface="Trebuchet MS"/>
              </a:rPr>
              <a:t>DE</a:t>
            </a:r>
            <a:r>
              <a:rPr sz="2400" b="1" spc="-2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400" b="1" spc="-90" dirty="0">
                <a:solidFill>
                  <a:srgbClr val="FFFFFF"/>
                </a:solidFill>
                <a:latin typeface="Trebuchet MS"/>
                <a:cs typeface="Trebuchet MS"/>
              </a:rPr>
              <a:t>GESTIÓN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46" name="object 19">
            <a:extLst>
              <a:ext uri="{FF2B5EF4-FFF2-40B4-BE49-F238E27FC236}">
                <a16:creationId xmlns="" xmlns:a16="http://schemas.microsoft.com/office/drawing/2014/main" id="{51F46BB3-C23B-B843-AEDD-6F437CD992B6}"/>
              </a:ext>
            </a:extLst>
          </p:cNvPr>
          <p:cNvSpPr/>
          <p:nvPr/>
        </p:nvSpPr>
        <p:spPr>
          <a:xfrm>
            <a:off x="11150236" y="2413095"/>
            <a:ext cx="3719528" cy="50008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">
            <a:extLst>
              <a:ext uri="{FF2B5EF4-FFF2-40B4-BE49-F238E27FC236}">
                <a16:creationId xmlns="" xmlns:a16="http://schemas.microsoft.com/office/drawing/2014/main" id="{7AA5593B-64C0-7F46-B487-57319F8F12FE}"/>
              </a:ext>
            </a:extLst>
          </p:cNvPr>
          <p:cNvSpPr/>
          <p:nvPr/>
        </p:nvSpPr>
        <p:spPr>
          <a:xfrm>
            <a:off x="4307052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">
            <a:extLst>
              <a:ext uri="{FF2B5EF4-FFF2-40B4-BE49-F238E27FC236}">
                <a16:creationId xmlns="" xmlns:a16="http://schemas.microsoft.com/office/drawing/2014/main" id="{4415FD1F-A043-F849-BB65-23EBC7E6A740}"/>
              </a:ext>
            </a:extLst>
          </p:cNvPr>
          <p:cNvSpPr txBox="1"/>
          <p:nvPr/>
        </p:nvSpPr>
        <p:spPr>
          <a:xfrm>
            <a:off x="8451067" y="1856021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8" name="object 19">
            <a:extLst>
              <a:ext uri="{FF2B5EF4-FFF2-40B4-BE49-F238E27FC236}">
                <a16:creationId xmlns="" xmlns:a16="http://schemas.microsoft.com/office/drawing/2014/main" id="{DD82A6C1-90D4-6844-ABD4-A617DB840B39}"/>
              </a:ext>
            </a:extLst>
          </p:cNvPr>
          <p:cNvSpPr txBox="1"/>
          <p:nvPr/>
        </p:nvSpPr>
        <p:spPr>
          <a:xfrm>
            <a:off x="4356596" y="7380882"/>
            <a:ext cx="10513168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>
                <a:alpha val="0"/>
              </a:srgbClr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60" name="Triangle 59">
            <a:extLst>
              <a:ext uri="{FF2B5EF4-FFF2-40B4-BE49-F238E27FC236}">
                <a16:creationId xmlns="" xmlns:a16="http://schemas.microsoft.com/office/drawing/2014/main" id="{87E5E7BE-0BD8-5346-8808-A1E4BF11B0A8}"/>
              </a:ext>
            </a:extLst>
          </p:cNvPr>
          <p:cNvSpPr/>
          <p:nvPr/>
        </p:nvSpPr>
        <p:spPr>
          <a:xfrm rot="10800000">
            <a:off x="6156560" y="264413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2C4313F1-BBD0-714B-9061-0F8E76BCD6C5}"/>
              </a:ext>
            </a:extLst>
          </p:cNvPr>
          <p:cNvGrpSpPr/>
          <p:nvPr/>
        </p:nvGrpSpPr>
        <p:grpSpPr>
          <a:xfrm>
            <a:off x="9783719" y="4546866"/>
            <a:ext cx="1185830" cy="1008113"/>
            <a:chOff x="9685189" y="5464029"/>
            <a:chExt cx="1185830" cy="1008113"/>
          </a:xfrm>
        </p:grpSpPr>
        <p:sp>
          <p:nvSpPr>
            <p:cNvPr id="62" name="Triangle 61">
              <a:extLst>
                <a:ext uri="{FF2B5EF4-FFF2-40B4-BE49-F238E27FC236}">
                  <a16:creationId xmlns="" xmlns:a16="http://schemas.microsoft.com/office/drawing/2014/main" id="{4F15C657-5F6C-7D42-82F5-05B8C26617DD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3" name="Triangle 62">
              <a:extLst>
                <a:ext uri="{FF2B5EF4-FFF2-40B4-BE49-F238E27FC236}">
                  <a16:creationId xmlns="" xmlns:a16="http://schemas.microsoft.com/office/drawing/2014/main" id="{020EB5C7-E14F-6B46-9C64-E18AEF3C2426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0690111A-9B21-C243-A8C2-B46A7BBE21BB}"/>
              </a:ext>
            </a:extLst>
          </p:cNvPr>
          <p:cNvGrpSpPr/>
          <p:nvPr/>
        </p:nvGrpSpPr>
        <p:grpSpPr>
          <a:xfrm>
            <a:off x="4270788" y="3422445"/>
            <a:ext cx="5342392" cy="3501311"/>
            <a:chOff x="-4576573" y="4196793"/>
            <a:chExt cx="4320891" cy="2831837"/>
          </a:xfrm>
        </p:grpSpPr>
        <p:sp>
          <p:nvSpPr>
            <p:cNvPr id="66" name="Rectángulo redondeado 17">
              <a:extLst>
                <a:ext uri="{FF2B5EF4-FFF2-40B4-BE49-F238E27FC236}">
                  <a16:creationId xmlns="" xmlns:a16="http://schemas.microsoft.com/office/drawing/2014/main" id="{479C90FE-0D76-9C45-B530-86D9AAD5F622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7" name="Rectángulo redondeado 18">
              <a:extLst>
                <a:ext uri="{FF2B5EF4-FFF2-40B4-BE49-F238E27FC236}">
                  <a16:creationId xmlns="" xmlns:a16="http://schemas.microsoft.com/office/drawing/2014/main" id="{4E676180-467D-C04B-95E1-2B35FD982F06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68" name="object 9">
            <a:extLst>
              <a:ext uri="{FF2B5EF4-FFF2-40B4-BE49-F238E27FC236}">
                <a16:creationId xmlns="" xmlns:a16="http://schemas.microsoft.com/office/drawing/2014/main" id="{D5B30C56-48E1-9144-9685-DCD084A8DDAC}"/>
              </a:ext>
            </a:extLst>
          </p:cNvPr>
          <p:cNvSpPr txBox="1"/>
          <p:nvPr/>
        </p:nvSpPr>
        <p:spPr>
          <a:xfrm>
            <a:off x="5484799" y="4110829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69" name="object 12">
            <a:extLst>
              <a:ext uri="{FF2B5EF4-FFF2-40B4-BE49-F238E27FC236}">
                <a16:creationId xmlns="" xmlns:a16="http://schemas.microsoft.com/office/drawing/2014/main" id="{9CCBA925-BF67-9A46-B453-653FA2BFCD64}"/>
              </a:ext>
            </a:extLst>
          </p:cNvPr>
          <p:cNvSpPr txBox="1"/>
          <p:nvPr/>
        </p:nvSpPr>
        <p:spPr>
          <a:xfrm>
            <a:off x="5484799" y="3622606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98F9A289-EBC7-9C47-97F5-72882B2EA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0612" y="4096992"/>
            <a:ext cx="737697" cy="750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899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>
            <a:off x="1" y="0"/>
            <a:ext cx="16202024" cy="9001124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4BF9E4AE-EBFA-CD4E-8031-B0074AE1B7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6259" y="3935390"/>
            <a:ext cx="2022665" cy="1237395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 de </a:t>
            </a:r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1BA209D0-CE6A-FC4C-AE54-9254B3EA58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188" y="2592770"/>
            <a:ext cx="3887592" cy="388759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3044ED9-1EFF-8F49-9DF4-EC32041C1F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0522" y="2592770"/>
            <a:ext cx="3780000" cy="3780000"/>
          </a:xfrm>
          <a:prstGeom prst="rect">
            <a:avLst/>
          </a:prstGeom>
        </p:spPr>
      </p:pic>
      <p:sp>
        <p:nvSpPr>
          <p:cNvPr id="12" name="Marcador de texto 23">
            <a:extLst>
              <a:ext uri="{FF2B5EF4-FFF2-40B4-BE49-F238E27FC236}">
                <a16:creationId xmlns="" xmlns:a16="http://schemas.microsoft.com/office/drawing/2014/main" id="{F995037F-8C82-8145-986B-A703EF42E786}"/>
              </a:ext>
            </a:extLst>
          </p:cNvPr>
          <p:cNvSpPr txBox="1">
            <a:spLocks/>
          </p:cNvSpPr>
          <p:nvPr/>
        </p:nvSpPr>
        <p:spPr>
          <a:xfrm>
            <a:off x="741003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1</a:t>
            </a:r>
          </a:p>
        </p:txBody>
      </p:sp>
      <p:sp>
        <p:nvSpPr>
          <p:cNvPr id="13" name="Marcador de texto 23">
            <a:extLst>
              <a:ext uri="{FF2B5EF4-FFF2-40B4-BE49-F238E27FC236}">
                <a16:creationId xmlns="" xmlns:a16="http://schemas.microsoft.com/office/drawing/2014/main" id="{062B073A-45BE-1140-9550-7E2EA827FA30}"/>
              </a:ext>
            </a:extLst>
          </p:cNvPr>
          <p:cNvSpPr txBox="1">
            <a:spLocks/>
          </p:cNvSpPr>
          <p:nvPr/>
        </p:nvSpPr>
        <p:spPr>
          <a:xfrm>
            <a:off x="4720994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2</a:t>
            </a:r>
          </a:p>
        </p:txBody>
      </p:sp>
      <p:sp>
        <p:nvSpPr>
          <p:cNvPr id="14" name="Marcador de texto 23">
            <a:extLst>
              <a:ext uri="{FF2B5EF4-FFF2-40B4-BE49-F238E27FC236}">
                <a16:creationId xmlns="" xmlns:a16="http://schemas.microsoft.com/office/drawing/2014/main" id="{CD1F91C4-5761-A442-8AEE-1721141ACAC5}"/>
              </a:ext>
            </a:extLst>
          </p:cNvPr>
          <p:cNvSpPr txBox="1">
            <a:spLocks/>
          </p:cNvSpPr>
          <p:nvPr/>
        </p:nvSpPr>
        <p:spPr>
          <a:xfrm>
            <a:off x="8297038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3</a:t>
            </a:r>
          </a:p>
        </p:txBody>
      </p:sp>
      <p:sp>
        <p:nvSpPr>
          <p:cNvPr id="15" name="Marcador de texto 23">
            <a:extLst>
              <a:ext uri="{FF2B5EF4-FFF2-40B4-BE49-F238E27FC236}">
                <a16:creationId xmlns="" xmlns:a16="http://schemas.microsoft.com/office/drawing/2014/main" id="{65D5694B-BE79-094A-99E2-A439F80AD075}"/>
              </a:ext>
            </a:extLst>
          </p:cNvPr>
          <p:cNvSpPr txBox="1">
            <a:spLocks/>
          </p:cNvSpPr>
          <p:nvPr/>
        </p:nvSpPr>
        <p:spPr>
          <a:xfrm>
            <a:off x="11489762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4</a:t>
            </a:r>
          </a:p>
        </p:txBody>
      </p:sp>
      <p:sp>
        <p:nvSpPr>
          <p:cNvPr id="16" name="Marcador de texto 35">
            <a:extLst>
              <a:ext uri="{FF2B5EF4-FFF2-40B4-BE49-F238E27FC236}">
                <a16:creationId xmlns="" xmlns:a16="http://schemas.microsoft.com/office/drawing/2014/main" id="{D3578775-F741-8A48-834E-62EEB39D5601}"/>
              </a:ext>
            </a:extLst>
          </p:cNvPr>
          <p:cNvSpPr txBox="1">
            <a:spLocks/>
          </p:cNvSpPr>
          <p:nvPr/>
        </p:nvSpPr>
        <p:spPr>
          <a:xfrm>
            <a:off x="5137550" y="5744381"/>
            <a:ext cx="2310209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Presentación del facilitador</a:t>
            </a:r>
          </a:p>
        </p:txBody>
      </p:sp>
      <p:sp>
        <p:nvSpPr>
          <p:cNvPr id="17" name="Marcador de texto 36">
            <a:extLst>
              <a:ext uri="{FF2B5EF4-FFF2-40B4-BE49-F238E27FC236}">
                <a16:creationId xmlns="" xmlns:a16="http://schemas.microsoft.com/office/drawing/2014/main" id="{161F0445-6E8D-C848-8725-22D4A995E04D}"/>
              </a:ext>
            </a:extLst>
          </p:cNvPr>
          <p:cNvSpPr txBox="1">
            <a:spLocks/>
          </p:cNvSpPr>
          <p:nvPr/>
        </p:nvSpPr>
        <p:spPr>
          <a:xfrm>
            <a:off x="8833554" y="5744381"/>
            <a:ext cx="2507526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Expectativas de los participantes</a:t>
            </a:r>
          </a:p>
        </p:txBody>
      </p:sp>
      <p:sp>
        <p:nvSpPr>
          <p:cNvPr id="18" name="Marcador de texto 37">
            <a:extLst>
              <a:ext uri="{FF2B5EF4-FFF2-40B4-BE49-F238E27FC236}">
                <a16:creationId xmlns="" xmlns:a16="http://schemas.microsoft.com/office/drawing/2014/main" id="{8AEAC636-A194-374B-88EB-645331097F64}"/>
              </a:ext>
            </a:extLst>
          </p:cNvPr>
          <p:cNvSpPr txBox="1">
            <a:spLocks/>
          </p:cNvSpPr>
          <p:nvPr/>
        </p:nvSpPr>
        <p:spPr>
          <a:xfrm>
            <a:off x="12246419" y="5744381"/>
            <a:ext cx="2169312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Presentación de la actividad</a:t>
            </a:r>
          </a:p>
        </p:txBody>
      </p:sp>
      <p:sp>
        <p:nvSpPr>
          <p:cNvPr id="19" name="Marcador de texto 13">
            <a:extLst>
              <a:ext uri="{FF2B5EF4-FFF2-40B4-BE49-F238E27FC236}">
                <a16:creationId xmlns="" xmlns:a16="http://schemas.microsoft.com/office/drawing/2014/main" id="{98BF1A31-4B29-2248-A299-723AA83920FE}"/>
              </a:ext>
            </a:extLst>
          </p:cNvPr>
          <p:cNvSpPr txBox="1">
            <a:spLocks/>
          </p:cNvSpPr>
          <p:nvPr/>
        </p:nvSpPr>
        <p:spPr>
          <a:xfrm>
            <a:off x="1377240" y="5744381"/>
            <a:ext cx="2507526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Bienvenida</a:t>
            </a:r>
          </a:p>
        </p:txBody>
      </p:sp>
      <p:pic>
        <p:nvPicPr>
          <p:cNvPr id="25" name="Picture 42">
            <a:extLst>
              <a:ext uri="{FF2B5EF4-FFF2-40B4-BE49-F238E27FC236}">
                <a16:creationId xmlns="" xmlns:a16="http://schemas.microsoft.com/office/drawing/2014/main" id="{95B8E1B9-65AF-0C4A-8387-01CD7FDA29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85861" y="3821178"/>
            <a:ext cx="966166" cy="13632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4909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13">
            <a:extLst>
              <a:ext uri="{FF2B5EF4-FFF2-40B4-BE49-F238E27FC236}">
                <a16:creationId xmlns="" xmlns:a16="http://schemas.microsoft.com/office/drawing/2014/main" id="{68FED852-8136-1A42-BF6D-E0DC40E19133}"/>
              </a:ext>
            </a:extLst>
          </p:cNvPr>
          <p:cNvSpPr/>
          <p:nvPr/>
        </p:nvSpPr>
        <p:spPr>
          <a:xfrm>
            <a:off x="12401005" y="6223774"/>
            <a:ext cx="3600000" cy="2002155"/>
          </a:xfrm>
          <a:custGeom>
            <a:avLst/>
            <a:gdLst/>
            <a:ahLst/>
            <a:cxnLst/>
            <a:rect l="l" t="t" r="r" b="b"/>
            <a:pathLst>
              <a:path w="2678429" h="2002154">
                <a:moveTo>
                  <a:pt x="0" y="333629"/>
                </a:moveTo>
                <a:lnTo>
                  <a:pt x="3616" y="284323"/>
                </a:lnTo>
                <a:lnTo>
                  <a:pt x="14124" y="237265"/>
                </a:lnTo>
                <a:lnTo>
                  <a:pt x="31005" y="192971"/>
                </a:lnTo>
                <a:lnTo>
                  <a:pt x="53744" y="151956"/>
                </a:lnTo>
                <a:lnTo>
                  <a:pt x="81827" y="114736"/>
                </a:lnTo>
                <a:lnTo>
                  <a:pt x="114736" y="81827"/>
                </a:lnTo>
                <a:lnTo>
                  <a:pt x="151956" y="53744"/>
                </a:lnTo>
                <a:lnTo>
                  <a:pt x="192971" y="31005"/>
                </a:lnTo>
                <a:lnTo>
                  <a:pt x="237265" y="14124"/>
                </a:lnTo>
                <a:lnTo>
                  <a:pt x="284323" y="3616"/>
                </a:lnTo>
                <a:lnTo>
                  <a:pt x="333629" y="0"/>
                </a:lnTo>
                <a:lnTo>
                  <a:pt x="2344420" y="0"/>
                </a:lnTo>
                <a:lnTo>
                  <a:pt x="2393728" y="3616"/>
                </a:lnTo>
                <a:lnTo>
                  <a:pt x="2440794" y="14124"/>
                </a:lnTo>
                <a:lnTo>
                  <a:pt x="2485100" y="31005"/>
                </a:lnTo>
                <a:lnTo>
                  <a:pt x="2526130" y="53744"/>
                </a:lnTo>
                <a:lnTo>
                  <a:pt x="2563367" y="81827"/>
                </a:lnTo>
                <a:lnTo>
                  <a:pt x="2596293" y="114736"/>
                </a:lnTo>
                <a:lnTo>
                  <a:pt x="2624392" y="151956"/>
                </a:lnTo>
                <a:lnTo>
                  <a:pt x="2647147" y="192971"/>
                </a:lnTo>
                <a:lnTo>
                  <a:pt x="2664040" y="237265"/>
                </a:lnTo>
                <a:lnTo>
                  <a:pt x="2674556" y="284323"/>
                </a:lnTo>
                <a:lnTo>
                  <a:pt x="2678176" y="333629"/>
                </a:lnTo>
                <a:lnTo>
                  <a:pt x="2678176" y="1668272"/>
                </a:lnTo>
                <a:lnTo>
                  <a:pt x="2674556" y="1717562"/>
                </a:lnTo>
                <a:lnTo>
                  <a:pt x="2664040" y="1764608"/>
                </a:lnTo>
                <a:lnTo>
                  <a:pt x="2647147" y="1808895"/>
                </a:lnTo>
                <a:lnTo>
                  <a:pt x="2624392" y="1849905"/>
                </a:lnTo>
                <a:lnTo>
                  <a:pt x="2596293" y="1887122"/>
                </a:lnTo>
                <a:lnTo>
                  <a:pt x="2563367" y="1920030"/>
                </a:lnTo>
                <a:lnTo>
                  <a:pt x="2526130" y="1948113"/>
                </a:lnTo>
                <a:lnTo>
                  <a:pt x="2485100" y="1970854"/>
                </a:lnTo>
                <a:lnTo>
                  <a:pt x="2440794" y="1987737"/>
                </a:lnTo>
                <a:lnTo>
                  <a:pt x="2393728" y="1998245"/>
                </a:lnTo>
                <a:lnTo>
                  <a:pt x="2344420" y="2001862"/>
                </a:lnTo>
                <a:lnTo>
                  <a:pt x="333629" y="2001862"/>
                </a:lnTo>
                <a:lnTo>
                  <a:pt x="284323" y="1998245"/>
                </a:lnTo>
                <a:lnTo>
                  <a:pt x="237265" y="1987737"/>
                </a:lnTo>
                <a:lnTo>
                  <a:pt x="192971" y="1970854"/>
                </a:lnTo>
                <a:lnTo>
                  <a:pt x="151956" y="1948113"/>
                </a:lnTo>
                <a:lnTo>
                  <a:pt x="114736" y="1920030"/>
                </a:lnTo>
                <a:lnTo>
                  <a:pt x="81827" y="1887122"/>
                </a:lnTo>
                <a:lnTo>
                  <a:pt x="53744" y="1849905"/>
                </a:lnTo>
                <a:lnTo>
                  <a:pt x="31005" y="1808895"/>
                </a:lnTo>
                <a:lnTo>
                  <a:pt x="14124" y="1764608"/>
                </a:lnTo>
                <a:lnTo>
                  <a:pt x="3616" y="1717562"/>
                </a:lnTo>
                <a:lnTo>
                  <a:pt x="0" y="1668272"/>
                </a:lnTo>
                <a:lnTo>
                  <a:pt x="0" y="333629"/>
                </a:lnTo>
                <a:close/>
              </a:path>
            </a:pathLst>
          </a:custGeom>
          <a:solidFill>
            <a:srgbClr val="EAEADE"/>
          </a:solidFill>
          <a:ln w="25400">
            <a:solidFill>
              <a:srgbClr val="EAEADE"/>
            </a:solidFill>
          </a:ln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CDDED0DE-E572-BE4B-B045-FCEE4D826587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object 2">
            <a:extLst>
              <a:ext uri="{FF2B5EF4-FFF2-40B4-BE49-F238E27FC236}">
                <a16:creationId xmlns="" xmlns:a16="http://schemas.microsoft.com/office/drawing/2014/main" id="{99CDB9FA-2214-AE43-B7E8-9F2F00D1EECF}"/>
              </a:ext>
            </a:extLst>
          </p:cNvPr>
          <p:cNvSpPr/>
          <p:nvPr/>
        </p:nvSpPr>
        <p:spPr>
          <a:xfrm>
            <a:off x="8231015" y="5004574"/>
            <a:ext cx="3600000" cy="3234055"/>
          </a:xfrm>
          <a:custGeom>
            <a:avLst/>
            <a:gdLst/>
            <a:ahLst/>
            <a:cxnLst/>
            <a:rect l="l" t="t" r="r" b="b"/>
            <a:pathLst>
              <a:path w="2887979" h="3234054">
                <a:moveTo>
                  <a:pt x="2406269" y="0"/>
                </a:moveTo>
                <a:lnTo>
                  <a:pt x="481203" y="0"/>
                </a:lnTo>
                <a:lnTo>
                  <a:pt x="431994" y="2485"/>
                </a:lnTo>
                <a:lnTo>
                  <a:pt x="384209" y="9779"/>
                </a:lnTo>
                <a:lnTo>
                  <a:pt x="338089" y="21641"/>
                </a:lnTo>
                <a:lnTo>
                  <a:pt x="293876" y="37828"/>
                </a:lnTo>
                <a:lnTo>
                  <a:pt x="251810" y="58098"/>
                </a:lnTo>
                <a:lnTo>
                  <a:pt x="212135" y="82208"/>
                </a:lnTo>
                <a:lnTo>
                  <a:pt x="175092" y="109918"/>
                </a:lnTo>
                <a:lnTo>
                  <a:pt x="140922" y="140985"/>
                </a:lnTo>
                <a:lnTo>
                  <a:pt x="109867" y="175167"/>
                </a:lnTo>
                <a:lnTo>
                  <a:pt x="82168" y="212222"/>
                </a:lnTo>
                <a:lnTo>
                  <a:pt x="58068" y="251908"/>
                </a:lnTo>
                <a:lnTo>
                  <a:pt x="37808" y="293983"/>
                </a:lnTo>
                <a:lnTo>
                  <a:pt x="21629" y="338204"/>
                </a:lnTo>
                <a:lnTo>
                  <a:pt x="9774" y="384331"/>
                </a:lnTo>
                <a:lnTo>
                  <a:pt x="2483" y="432120"/>
                </a:lnTo>
                <a:lnTo>
                  <a:pt x="0" y="481329"/>
                </a:lnTo>
                <a:lnTo>
                  <a:pt x="0" y="2752471"/>
                </a:lnTo>
                <a:lnTo>
                  <a:pt x="2483" y="2801680"/>
                </a:lnTo>
                <a:lnTo>
                  <a:pt x="9774" y="2849468"/>
                </a:lnTo>
                <a:lnTo>
                  <a:pt x="21629" y="2895592"/>
                </a:lnTo>
                <a:lnTo>
                  <a:pt x="37808" y="2939811"/>
                </a:lnTo>
                <a:lnTo>
                  <a:pt x="58068" y="2981883"/>
                </a:lnTo>
                <a:lnTo>
                  <a:pt x="82168" y="3021566"/>
                </a:lnTo>
                <a:lnTo>
                  <a:pt x="109867" y="3058617"/>
                </a:lnTo>
                <a:lnTo>
                  <a:pt x="140922" y="3092796"/>
                </a:lnTo>
                <a:lnTo>
                  <a:pt x="175092" y="3123859"/>
                </a:lnTo>
                <a:lnTo>
                  <a:pt x="212135" y="3151566"/>
                </a:lnTo>
                <a:lnTo>
                  <a:pt x="251810" y="3175673"/>
                </a:lnTo>
                <a:lnTo>
                  <a:pt x="293876" y="3195940"/>
                </a:lnTo>
                <a:lnTo>
                  <a:pt x="338089" y="3212125"/>
                </a:lnTo>
                <a:lnTo>
                  <a:pt x="384209" y="3223984"/>
                </a:lnTo>
                <a:lnTo>
                  <a:pt x="431994" y="3231278"/>
                </a:lnTo>
                <a:lnTo>
                  <a:pt x="481203" y="3233762"/>
                </a:lnTo>
                <a:lnTo>
                  <a:pt x="2406269" y="3233762"/>
                </a:lnTo>
                <a:lnTo>
                  <a:pt x="2455478" y="3231278"/>
                </a:lnTo>
                <a:lnTo>
                  <a:pt x="2503267" y="3223984"/>
                </a:lnTo>
                <a:lnTo>
                  <a:pt x="2549394" y="3212125"/>
                </a:lnTo>
                <a:lnTo>
                  <a:pt x="2593615" y="3195940"/>
                </a:lnTo>
                <a:lnTo>
                  <a:pt x="2635690" y="3175673"/>
                </a:lnTo>
                <a:lnTo>
                  <a:pt x="2675376" y="3151566"/>
                </a:lnTo>
                <a:lnTo>
                  <a:pt x="2712431" y="3123859"/>
                </a:lnTo>
                <a:lnTo>
                  <a:pt x="2746613" y="3092796"/>
                </a:lnTo>
                <a:lnTo>
                  <a:pt x="2777680" y="3058617"/>
                </a:lnTo>
                <a:lnTo>
                  <a:pt x="2805390" y="3021566"/>
                </a:lnTo>
                <a:lnTo>
                  <a:pt x="2829500" y="2981883"/>
                </a:lnTo>
                <a:lnTo>
                  <a:pt x="2849770" y="2939811"/>
                </a:lnTo>
                <a:lnTo>
                  <a:pt x="2865957" y="2895592"/>
                </a:lnTo>
                <a:lnTo>
                  <a:pt x="2877819" y="2849468"/>
                </a:lnTo>
                <a:lnTo>
                  <a:pt x="2885113" y="2801680"/>
                </a:lnTo>
                <a:lnTo>
                  <a:pt x="2887599" y="2752471"/>
                </a:lnTo>
                <a:lnTo>
                  <a:pt x="2887599" y="481329"/>
                </a:lnTo>
                <a:lnTo>
                  <a:pt x="2885113" y="432120"/>
                </a:lnTo>
                <a:lnTo>
                  <a:pt x="2877819" y="384331"/>
                </a:lnTo>
                <a:lnTo>
                  <a:pt x="2865957" y="338204"/>
                </a:lnTo>
                <a:lnTo>
                  <a:pt x="2849770" y="293983"/>
                </a:lnTo>
                <a:lnTo>
                  <a:pt x="2829500" y="251908"/>
                </a:lnTo>
                <a:lnTo>
                  <a:pt x="2805390" y="212222"/>
                </a:lnTo>
                <a:lnTo>
                  <a:pt x="2777680" y="175167"/>
                </a:lnTo>
                <a:lnTo>
                  <a:pt x="2746613" y="140985"/>
                </a:lnTo>
                <a:lnTo>
                  <a:pt x="2712431" y="109918"/>
                </a:lnTo>
                <a:lnTo>
                  <a:pt x="2675376" y="82208"/>
                </a:lnTo>
                <a:lnTo>
                  <a:pt x="2635690" y="58098"/>
                </a:lnTo>
                <a:lnTo>
                  <a:pt x="2593615" y="37828"/>
                </a:lnTo>
                <a:lnTo>
                  <a:pt x="2549394" y="21641"/>
                </a:lnTo>
                <a:lnTo>
                  <a:pt x="2503267" y="9779"/>
                </a:lnTo>
                <a:lnTo>
                  <a:pt x="2455478" y="2485"/>
                </a:lnTo>
                <a:lnTo>
                  <a:pt x="2406269" y="0"/>
                </a:lnTo>
                <a:close/>
              </a:path>
            </a:pathLst>
          </a:custGeom>
          <a:solidFill>
            <a:srgbClr val="EAEADE"/>
          </a:solidFill>
          <a:ln>
            <a:solidFill>
              <a:srgbClr val="EAEADE"/>
            </a:solidFill>
          </a:ln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33" name="object 4">
            <a:extLst>
              <a:ext uri="{FF2B5EF4-FFF2-40B4-BE49-F238E27FC236}">
                <a16:creationId xmlns="" xmlns:a16="http://schemas.microsoft.com/office/drawing/2014/main" id="{B4596B78-0A39-5844-BC0D-38ADEC04EFF5}"/>
              </a:ext>
            </a:extLst>
          </p:cNvPr>
          <p:cNvSpPr txBox="1"/>
          <p:nvPr/>
        </p:nvSpPr>
        <p:spPr>
          <a:xfrm>
            <a:off x="8273565" y="5259754"/>
            <a:ext cx="3600000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CONTROLES  ADMINISTRATIVOS</a:t>
            </a:r>
          </a:p>
        </p:txBody>
      </p:sp>
      <p:sp>
        <p:nvSpPr>
          <p:cNvPr id="34" name="object 5">
            <a:extLst>
              <a:ext uri="{FF2B5EF4-FFF2-40B4-BE49-F238E27FC236}">
                <a16:creationId xmlns="" xmlns:a16="http://schemas.microsoft.com/office/drawing/2014/main" id="{CA90FA8F-AA5F-AC41-BAA5-C5AE7D3E0DDF}"/>
              </a:ext>
            </a:extLst>
          </p:cNvPr>
          <p:cNvSpPr txBox="1"/>
          <p:nvPr/>
        </p:nvSpPr>
        <p:spPr>
          <a:xfrm>
            <a:off x="8389044" y="6189215"/>
            <a:ext cx="3492000" cy="15517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otación de trabajadores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xtensión de Breaks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2°/3er Turno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gregación de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ctividades ruidosas</a:t>
            </a:r>
          </a:p>
        </p:txBody>
      </p:sp>
      <p:sp>
        <p:nvSpPr>
          <p:cNvPr id="35" name="object 6">
            <a:extLst>
              <a:ext uri="{FF2B5EF4-FFF2-40B4-BE49-F238E27FC236}">
                <a16:creationId xmlns="" xmlns:a16="http://schemas.microsoft.com/office/drawing/2014/main" id="{B8DC69F4-19FB-5B45-8FD2-EE9E4612311B}"/>
              </a:ext>
            </a:extLst>
          </p:cNvPr>
          <p:cNvSpPr/>
          <p:nvPr/>
        </p:nvSpPr>
        <p:spPr>
          <a:xfrm>
            <a:off x="4284588" y="4242574"/>
            <a:ext cx="3600000" cy="4002404"/>
          </a:xfrm>
          <a:custGeom>
            <a:avLst/>
            <a:gdLst/>
            <a:ahLst/>
            <a:cxnLst/>
            <a:rect l="l" t="t" r="r" b="b"/>
            <a:pathLst>
              <a:path w="2916555" h="4002404">
                <a:moveTo>
                  <a:pt x="2430145" y="0"/>
                </a:moveTo>
                <a:lnTo>
                  <a:pt x="486054" y="0"/>
                </a:lnTo>
                <a:lnTo>
                  <a:pt x="439244" y="2225"/>
                </a:lnTo>
                <a:lnTo>
                  <a:pt x="393692" y="8766"/>
                </a:lnTo>
                <a:lnTo>
                  <a:pt x="349604" y="19418"/>
                </a:lnTo>
                <a:lnTo>
                  <a:pt x="307181" y="33978"/>
                </a:lnTo>
                <a:lnTo>
                  <a:pt x="266629" y="52241"/>
                </a:lnTo>
                <a:lnTo>
                  <a:pt x="228150" y="74004"/>
                </a:lnTo>
                <a:lnTo>
                  <a:pt x="191948" y="99062"/>
                </a:lnTo>
                <a:lnTo>
                  <a:pt x="158228" y="127212"/>
                </a:lnTo>
                <a:lnTo>
                  <a:pt x="127192" y="158249"/>
                </a:lnTo>
                <a:lnTo>
                  <a:pt x="99045" y="191970"/>
                </a:lnTo>
                <a:lnTo>
                  <a:pt x="73990" y="228171"/>
                </a:lnTo>
                <a:lnTo>
                  <a:pt x="52230" y="266648"/>
                </a:lnTo>
                <a:lnTo>
                  <a:pt x="33970" y="307196"/>
                </a:lnTo>
                <a:lnTo>
                  <a:pt x="19414" y="349612"/>
                </a:lnTo>
                <a:lnTo>
                  <a:pt x="8764" y="393692"/>
                </a:lnTo>
                <a:lnTo>
                  <a:pt x="2225" y="439232"/>
                </a:lnTo>
                <a:lnTo>
                  <a:pt x="0" y="486028"/>
                </a:lnTo>
                <a:lnTo>
                  <a:pt x="0" y="3516122"/>
                </a:lnTo>
                <a:lnTo>
                  <a:pt x="2225" y="3562923"/>
                </a:lnTo>
                <a:lnTo>
                  <a:pt x="8764" y="3608467"/>
                </a:lnTo>
                <a:lnTo>
                  <a:pt x="19414" y="3652548"/>
                </a:lnTo>
                <a:lnTo>
                  <a:pt x="33970" y="3694964"/>
                </a:lnTo>
                <a:lnTo>
                  <a:pt x="52230" y="3735511"/>
                </a:lnTo>
                <a:lnTo>
                  <a:pt x="73990" y="3773985"/>
                </a:lnTo>
                <a:lnTo>
                  <a:pt x="99045" y="3810182"/>
                </a:lnTo>
                <a:lnTo>
                  <a:pt x="127192" y="3843898"/>
                </a:lnTo>
                <a:lnTo>
                  <a:pt x="158228" y="3874931"/>
                </a:lnTo>
                <a:lnTo>
                  <a:pt x="191948" y="3903075"/>
                </a:lnTo>
                <a:lnTo>
                  <a:pt x="228150" y="3928128"/>
                </a:lnTo>
                <a:lnTo>
                  <a:pt x="266629" y="3949886"/>
                </a:lnTo>
                <a:lnTo>
                  <a:pt x="307181" y="3968144"/>
                </a:lnTo>
                <a:lnTo>
                  <a:pt x="349604" y="3982700"/>
                </a:lnTo>
                <a:lnTo>
                  <a:pt x="393692" y="3993349"/>
                </a:lnTo>
                <a:lnTo>
                  <a:pt x="439244" y="3999888"/>
                </a:lnTo>
                <a:lnTo>
                  <a:pt x="486054" y="4002112"/>
                </a:lnTo>
                <a:lnTo>
                  <a:pt x="2430145" y="4002112"/>
                </a:lnTo>
                <a:lnTo>
                  <a:pt x="2476962" y="3999888"/>
                </a:lnTo>
                <a:lnTo>
                  <a:pt x="2522520" y="3993349"/>
                </a:lnTo>
                <a:lnTo>
                  <a:pt x="2566617" y="3982700"/>
                </a:lnTo>
                <a:lnTo>
                  <a:pt x="2609047" y="3968144"/>
                </a:lnTo>
                <a:lnTo>
                  <a:pt x="2649608" y="3949886"/>
                </a:lnTo>
                <a:lnTo>
                  <a:pt x="2688094" y="3928128"/>
                </a:lnTo>
                <a:lnTo>
                  <a:pt x="2724304" y="3903075"/>
                </a:lnTo>
                <a:lnTo>
                  <a:pt x="2758032" y="3874931"/>
                </a:lnTo>
                <a:lnTo>
                  <a:pt x="2789075" y="3843898"/>
                </a:lnTo>
                <a:lnTo>
                  <a:pt x="2817229" y="3810182"/>
                </a:lnTo>
                <a:lnTo>
                  <a:pt x="2842290" y="3773985"/>
                </a:lnTo>
                <a:lnTo>
                  <a:pt x="2864055" y="3735511"/>
                </a:lnTo>
                <a:lnTo>
                  <a:pt x="2882320" y="3694964"/>
                </a:lnTo>
                <a:lnTo>
                  <a:pt x="2896881" y="3652548"/>
                </a:lnTo>
                <a:lnTo>
                  <a:pt x="2907534" y="3608467"/>
                </a:lnTo>
                <a:lnTo>
                  <a:pt x="2914075" y="3562923"/>
                </a:lnTo>
                <a:lnTo>
                  <a:pt x="2916301" y="3516122"/>
                </a:lnTo>
                <a:lnTo>
                  <a:pt x="2916301" y="486028"/>
                </a:lnTo>
                <a:lnTo>
                  <a:pt x="2914075" y="439232"/>
                </a:lnTo>
                <a:lnTo>
                  <a:pt x="2907534" y="393692"/>
                </a:lnTo>
                <a:lnTo>
                  <a:pt x="2896881" y="349612"/>
                </a:lnTo>
                <a:lnTo>
                  <a:pt x="2882320" y="307196"/>
                </a:lnTo>
                <a:lnTo>
                  <a:pt x="2864055" y="266648"/>
                </a:lnTo>
                <a:lnTo>
                  <a:pt x="2842290" y="228171"/>
                </a:lnTo>
                <a:lnTo>
                  <a:pt x="2817229" y="191970"/>
                </a:lnTo>
                <a:lnTo>
                  <a:pt x="2789075" y="158249"/>
                </a:lnTo>
                <a:lnTo>
                  <a:pt x="2758032" y="127212"/>
                </a:lnTo>
                <a:lnTo>
                  <a:pt x="2724304" y="99062"/>
                </a:lnTo>
                <a:lnTo>
                  <a:pt x="2688094" y="74004"/>
                </a:lnTo>
                <a:lnTo>
                  <a:pt x="2649608" y="52241"/>
                </a:lnTo>
                <a:lnTo>
                  <a:pt x="2609047" y="33978"/>
                </a:lnTo>
                <a:lnTo>
                  <a:pt x="2566617" y="19418"/>
                </a:lnTo>
                <a:lnTo>
                  <a:pt x="2522520" y="8766"/>
                </a:lnTo>
                <a:lnTo>
                  <a:pt x="2476962" y="2225"/>
                </a:lnTo>
                <a:lnTo>
                  <a:pt x="2430145" y="0"/>
                </a:lnTo>
                <a:close/>
              </a:path>
            </a:pathLst>
          </a:custGeom>
          <a:solidFill>
            <a:srgbClr val="EAEADE"/>
          </a:solidFill>
          <a:ln>
            <a:solidFill>
              <a:srgbClr val="EAEADE">
                <a:alpha val="0"/>
              </a:srgb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0">
            <a:extLst>
              <a:ext uri="{FF2B5EF4-FFF2-40B4-BE49-F238E27FC236}">
                <a16:creationId xmlns="" xmlns:a16="http://schemas.microsoft.com/office/drawing/2014/main" id="{067EBC84-F523-CA43-935D-D792A3562741}"/>
              </a:ext>
            </a:extLst>
          </p:cNvPr>
          <p:cNvSpPr txBox="1"/>
          <p:nvPr/>
        </p:nvSpPr>
        <p:spPr>
          <a:xfrm>
            <a:off x="4356596" y="4428554"/>
            <a:ext cx="3492000" cy="6719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CONTROLES DE </a:t>
            </a:r>
            <a:endParaRPr lang="en-US" sz="2100" b="1" dirty="0">
              <a:solidFill>
                <a:srgbClr val="15C047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INGENIERÍA</a:t>
            </a:r>
          </a:p>
        </p:txBody>
      </p:sp>
      <p:sp>
        <p:nvSpPr>
          <p:cNvPr id="39" name="object 11">
            <a:extLst>
              <a:ext uri="{FF2B5EF4-FFF2-40B4-BE49-F238E27FC236}">
                <a16:creationId xmlns="" xmlns:a16="http://schemas.microsoft.com/office/drawing/2014/main" id="{BF1B7BE7-6401-4D4B-83BA-485C147F81F9}"/>
              </a:ext>
            </a:extLst>
          </p:cNvPr>
          <p:cNvSpPr txBox="1"/>
          <p:nvPr/>
        </p:nvSpPr>
        <p:spPr>
          <a:xfrm>
            <a:off x="4429004" y="5358799"/>
            <a:ext cx="3600000" cy="21672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6075" marR="5080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mortiguadores de  Vibra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cerramientos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Barreras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bsor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isla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ilenciadores</a:t>
            </a:r>
          </a:p>
        </p:txBody>
      </p:sp>
      <p:sp>
        <p:nvSpPr>
          <p:cNvPr id="42" name="object 14">
            <a:extLst>
              <a:ext uri="{FF2B5EF4-FFF2-40B4-BE49-F238E27FC236}">
                <a16:creationId xmlns="" xmlns:a16="http://schemas.microsoft.com/office/drawing/2014/main" id="{4D730E8C-783B-8740-BB6D-CFC8BA26C064}"/>
              </a:ext>
            </a:extLst>
          </p:cNvPr>
          <p:cNvSpPr/>
          <p:nvPr/>
        </p:nvSpPr>
        <p:spPr>
          <a:xfrm>
            <a:off x="12401005" y="6612712"/>
            <a:ext cx="3600000" cy="646430"/>
          </a:xfrm>
          <a:custGeom>
            <a:avLst/>
            <a:gdLst/>
            <a:ahLst/>
            <a:cxnLst/>
            <a:rect l="l" t="t" r="r" b="b"/>
            <a:pathLst>
              <a:path w="2660650" h="646429">
                <a:moveTo>
                  <a:pt x="0" y="646112"/>
                </a:moveTo>
                <a:lnTo>
                  <a:pt x="2660650" y="646112"/>
                </a:lnTo>
                <a:lnTo>
                  <a:pt x="2660650" y="0"/>
                </a:lnTo>
                <a:lnTo>
                  <a:pt x="0" y="0"/>
                </a:lnTo>
                <a:lnTo>
                  <a:pt x="0" y="646112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47" name="object 16">
            <a:extLst>
              <a:ext uri="{FF2B5EF4-FFF2-40B4-BE49-F238E27FC236}">
                <a16:creationId xmlns="" xmlns:a16="http://schemas.microsoft.com/office/drawing/2014/main" id="{8BA0A340-274A-9042-98B5-467F71062625}"/>
              </a:ext>
            </a:extLst>
          </p:cNvPr>
          <p:cNvSpPr txBox="1"/>
          <p:nvPr/>
        </p:nvSpPr>
        <p:spPr>
          <a:xfrm>
            <a:off x="12657435" y="6876826"/>
            <a:ext cx="3220441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indent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EQUIPOS DE PROTECCIÓN  PERSONAL</a:t>
            </a:r>
          </a:p>
        </p:txBody>
      </p:sp>
      <p:sp>
        <p:nvSpPr>
          <p:cNvPr id="48" name="object 19">
            <a:extLst>
              <a:ext uri="{FF2B5EF4-FFF2-40B4-BE49-F238E27FC236}">
                <a16:creationId xmlns="" xmlns:a16="http://schemas.microsoft.com/office/drawing/2014/main" id="{A96E98EE-8D8E-3341-9E46-70E440ACE0DA}"/>
              </a:ext>
            </a:extLst>
          </p:cNvPr>
          <p:cNvSpPr/>
          <p:nvPr/>
        </p:nvSpPr>
        <p:spPr>
          <a:xfrm>
            <a:off x="8304962" y="2591465"/>
            <a:ext cx="3600000" cy="530225"/>
          </a:xfrm>
          <a:custGeom>
            <a:avLst/>
            <a:gdLst/>
            <a:ahLst/>
            <a:cxnLst/>
            <a:rect l="l" t="t" r="r" b="b"/>
            <a:pathLst>
              <a:path w="2678429" h="530225">
                <a:moveTo>
                  <a:pt x="2589784" y="0"/>
                </a:moveTo>
                <a:lnTo>
                  <a:pt x="88392" y="0"/>
                </a:lnTo>
                <a:lnTo>
                  <a:pt x="54006" y="6933"/>
                </a:lnTo>
                <a:lnTo>
                  <a:pt x="25908" y="25844"/>
                </a:lnTo>
                <a:lnTo>
                  <a:pt x="6953" y="53899"/>
                </a:lnTo>
                <a:lnTo>
                  <a:pt x="0" y="88264"/>
                </a:lnTo>
                <a:lnTo>
                  <a:pt x="0" y="441832"/>
                </a:lnTo>
                <a:lnTo>
                  <a:pt x="6953" y="476218"/>
                </a:lnTo>
                <a:lnTo>
                  <a:pt x="25907" y="504316"/>
                </a:lnTo>
                <a:lnTo>
                  <a:pt x="54006" y="523271"/>
                </a:lnTo>
                <a:lnTo>
                  <a:pt x="88392" y="530224"/>
                </a:lnTo>
                <a:lnTo>
                  <a:pt x="2589784" y="530224"/>
                </a:lnTo>
                <a:lnTo>
                  <a:pt x="2624169" y="523271"/>
                </a:lnTo>
                <a:lnTo>
                  <a:pt x="2652267" y="504316"/>
                </a:lnTo>
                <a:lnTo>
                  <a:pt x="2671222" y="476218"/>
                </a:lnTo>
                <a:lnTo>
                  <a:pt x="2678176" y="441832"/>
                </a:lnTo>
                <a:lnTo>
                  <a:pt x="2678176" y="88264"/>
                </a:lnTo>
                <a:lnTo>
                  <a:pt x="2671222" y="53899"/>
                </a:lnTo>
                <a:lnTo>
                  <a:pt x="2652268" y="25844"/>
                </a:lnTo>
                <a:lnTo>
                  <a:pt x="2624169" y="6933"/>
                </a:lnTo>
                <a:lnTo>
                  <a:pt x="2589784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51" name="object 23">
            <a:extLst>
              <a:ext uri="{FF2B5EF4-FFF2-40B4-BE49-F238E27FC236}">
                <a16:creationId xmlns="" xmlns:a16="http://schemas.microsoft.com/office/drawing/2014/main" id="{14A44D8D-B507-6042-9258-8351724AE23F}"/>
              </a:ext>
            </a:extLst>
          </p:cNvPr>
          <p:cNvSpPr/>
          <p:nvPr/>
        </p:nvSpPr>
        <p:spPr>
          <a:xfrm>
            <a:off x="8327729" y="3476098"/>
            <a:ext cx="3600000" cy="530860"/>
          </a:xfrm>
          <a:custGeom>
            <a:avLst/>
            <a:gdLst/>
            <a:ahLst/>
            <a:cxnLst/>
            <a:rect l="l" t="t" r="r" b="b"/>
            <a:pathLst>
              <a:path w="2678429" h="530860">
                <a:moveTo>
                  <a:pt x="2589784" y="0"/>
                </a:moveTo>
                <a:lnTo>
                  <a:pt x="88392" y="0"/>
                </a:lnTo>
                <a:lnTo>
                  <a:pt x="54006" y="6953"/>
                </a:lnTo>
                <a:lnTo>
                  <a:pt x="25908" y="25907"/>
                </a:lnTo>
                <a:lnTo>
                  <a:pt x="6953" y="54006"/>
                </a:lnTo>
                <a:lnTo>
                  <a:pt x="0" y="88391"/>
                </a:lnTo>
                <a:lnTo>
                  <a:pt x="0" y="441959"/>
                </a:lnTo>
                <a:lnTo>
                  <a:pt x="6953" y="476345"/>
                </a:lnTo>
                <a:lnTo>
                  <a:pt x="25907" y="504443"/>
                </a:lnTo>
                <a:lnTo>
                  <a:pt x="54006" y="523398"/>
                </a:lnTo>
                <a:lnTo>
                  <a:pt x="88392" y="530351"/>
                </a:lnTo>
                <a:lnTo>
                  <a:pt x="2589784" y="530351"/>
                </a:lnTo>
                <a:lnTo>
                  <a:pt x="2624169" y="523398"/>
                </a:lnTo>
                <a:lnTo>
                  <a:pt x="2652267" y="504443"/>
                </a:lnTo>
                <a:lnTo>
                  <a:pt x="2671222" y="476345"/>
                </a:lnTo>
                <a:lnTo>
                  <a:pt x="2678176" y="441959"/>
                </a:lnTo>
                <a:lnTo>
                  <a:pt x="2678176" y="88391"/>
                </a:lnTo>
                <a:lnTo>
                  <a:pt x="2671222" y="54006"/>
                </a:lnTo>
                <a:lnTo>
                  <a:pt x="2652268" y="25907"/>
                </a:lnTo>
                <a:lnTo>
                  <a:pt x="2624169" y="6953"/>
                </a:lnTo>
                <a:lnTo>
                  <a:pt x="2589784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sz="1800">
              <a:solidFill>
                <a:schemeClr val="bg1"/>
              </a:solidFill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52" name="object 27">
            <a:extLst>
              <a:ext uri="{FF2B5EF4-FFF2-40B4-BE49-F238E27FC236}">
                <a16:creationId xmlns="" xmlns:a16="http://schemas.microsoft.com/office/drawing/2014/main" id="{497E378B-25C9-CC4D-B1BD-4B6C14E63012}"/>
              </a:ext>
            </a:extLst>
          </p:cNvPr>
          <p:cNvSpPr txBox="1"/>
          <p:nvPr/>
        </p:nvSpPr>
        <p:spPr>
          <a:xfrm>
            <a:off x="8512534" y="2680568"/>
            <a:ext cx="36000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1.</a:t>
            </a:r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 </a:t>
            </a: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ELIMINACIÓN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sz="2000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2.</a:t>
            </a:r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</a:t>
            </a: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SUSTITUCIÓN</a:t>
            </a:r>
          </a:p>
        </p:txBody>
      </p:sp>
      <p:sp>
        <p:nvSpPr>
          <p:cNvPr id="53" name="Rectángulo 1">
            <a:extLst>
              <a:ext uri="{FF2B5EF4-FFF2-40B4-BE49-F238E27FC236}">
                <a16:creationId xmlns="" xmlns:a16="http://schemas.microsoft.com/office/drawing/2014/main" id="{2C3103BA-B6B0-2442-BADD-1F9E6D637C10}"/>
              </a:ext>
            </a:extLst>
          </p:cNvPr>
          <p:cNvSpPr/>
          <p:nvPr/>
        </p:nvSpPr>
        <p:spPr>
          <a:xfrm>
            <a:off x="4318668" y="1589597"/>
            <a:ext cx="47115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Jerarquía de control de agente: </a:t>
            </a:r>
          </a:p>
        </p:txBody>
      </p:sp>
      <p:cxnSp>
        <p:nvCxnSpPr>
          <p:cNvPr id="56" name="Conector angular 8">
            <a:extLst>
              <a:ext uri="{FF2B5EF4-FFF2-40B4-BE49-F238E27FC236}">
                <a16:creationId xmlns="" xmlns:a16="http://schemas.microsoft.com/office/drawing/2014/main" id="{59659B52-D23A-D249-A3EA-E03184E7C579}"/>
              </a:ext>
            </a:extLst>
          </p:cNvPr>
          <p:cNvCxnSpPr>
            <a:cxnSpLocks/>
          </p:cNvCxnSpPr>
          <p:nvPr/>
        </p:nvCxnSpPr>
        <p:spPr>
          <a:xfrm>
            <a:off x="9174630" y="1836070"/>
            <a:ext cx="5045790" cy="4407706"/>
          </a:xfrm>
          <a:prstGeom prst="bentConnector3">
            <a:avLst>
              <a:gd name="adj1" fmla="val 100032"/>
            </a:avLst>
          </a:prstGeom>
          <a:ln w="60325">
            <a:solidFill>
              <a:srgbClr val="0C662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riangle 58">
            <a:extLst>
              <a:ext uri="{FF2B5EF4-FFF2-40B4-BE49-F238E27FC236}">
                <a16:creationId xmlns="" xmlns:a16="http://schemas.microsoft.com/office/drawing/2014/main" id="{A01543C9-B2AA-AB4A-A37C-A5578D22A474}"/>
              </a:ext>
            </a:extLst>
          </p:cNvPr>
          <p:cNvSpPr/>
          <p:nvPr/>
        </p:nvSpPr>
        <p:spPr>
          <a:xfrm rot="10800000">
            <a:off x="13737250" y="5924816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92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="" xmlns:a16="http://schemas.microsoft.com/office/drawing/2014/main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="" xmlns:a16="http://schemas.microsoft.com/office/drawing/2014/main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="" xmlns:a16="http://schemas.microsoft.com/office/drawing/2014/main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="" xmlns:a16="http://schemas.microsoft.com/office/drawing/2014/main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="" xmlns:a16="http://schemas.microsoft.com/office/drawing/2014/main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="" xmlns:a16="http://schemas.microsoft.com/office/drawing/2014/main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="" xmlns:a16="http://schemas.microsoft.com/office/drawing/2014/main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="" xmlns:a16="http://schemas.microsoft.com/office/drawing/2014/main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="" xmlns:a16="http://schemas.microsoft.com/office/drawing/2014/main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="" xmlns:a16="http://schemas.microsoft.com/office/drawing/2014/main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="" xmlns:a16="http://schemas.microsoft.com/office/drawing/2014/main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="" xmlns:a16="http://schemas.microsoft.com/office/drawing/2014/main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="" xmlns:a16="http://schemas.microsoft.com/office/drawing/2014/main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="" xmlns:a16="http://schemas.microsoft.com/office/drawing/2014/main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="" xmlns:a16="http://schemas.microsoft.com/office/drawing/2014/main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CE45ECE8-A7B9-5D4D-8BF1-06BD044E79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0E05819A-1866-354C-B049-367DAA4930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0292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19">
            <a:extLst>
              <a:ext uri="{FF2B5EF4-FFF2-40B4-BE49-F238E27FC236}">
                <a16:creationId xmlns="" xmlns:a16="http://schemas.microsoft.com/office/drawing/2014/main" id="{100CB87D-4FC4-B648-8204-5FE82AEAFBA7}"/>
              </a:ext>
            </a:extLst>
          </p:cNvPr>
          <p:cNvSpPr/>
          <p:nvPr/>
        </p:nvSpPr>
        <p:spPr>
          <a:xfrm>
            <a:off x="11053340" y="2472689"/>
            <a:ext cx="3863270" cy="46921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="" xmlns:a16="http://schemas.microsoft.com/office/drawing/2014/main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" name="object 4">
            <a:extLst>
              <a:ext uri="{FF2B5EF4-FFF2-40B4-BE49-F238E27FC236}">
                <a16:creationId xmlns="" xmlns:a16="http://schemas.microsoft.com/office/drawing/2014/main" id="{77F2649F-DB05-5540-A268-5611B59B2CA7}"/>
              </a:ext>
            </a:extLst>
          </p:cNvPr>
          <p:cNvSpPr txBox="1"/>
          <p:nvPr/>
        </p:nvSpPr>
        <p:spPr>
          <a:xfrm>
            <a:off x="8173356" y="1943480"/>
            <a:ext cx="30240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5" dirty="0">
                <a:solidFill>
                  <a:srgbClr val="FFFFFF"/>
                </a:solidFill>
                <a:latin typeface="Trebuchet MS"/>
                <a:cs typeface="Trebuchet MS"/>
              </a:rPr>
              <a:t>SISTEMA </a:t>
            </a:r>
            <a:r>
              <a:rPr sz="2400" b="1" spc="-85" dirty="0">
                <a:solidFill>
                  <a:srgbClr val="FFFFFF"/>
                </a:solidFill>
                <a:latin typeface="Trebuchet MS"/>
                <a:cs typeface="Trebuchet MS"/>
              </a:rPr>
              <a:t>DE</a:t>
            </a:r>
            <a:r>
              <a:rPr sz="2400" b="1" spc="-2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400" b="1" spc="-90" dirty="0">
                <a:solidFill>
                  <a:srgbClr val="FFFFFF"/>
                </a:solidFill>
                <a:latin typeface="Trebuchet MS"/>
                <a:cs typeface="Trebuchet MS"/>
              </a:rPr>
              <a:t>GESTIÓN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49" name="object 3">
            <a:extLst>
              <a:ext uri="{FF2B5EF4-FFF2-40B4-BE49-F238E27FC236}">
                <a16:creationId xmlns="" xmlns:a16="http://schemas.microsoft.com/office/drawing/2014/main" id="{7AA5593B-64C0-7F46-B487-57319F8F12FE}"/>
              </a:ext>
            </a:extLst>
          </p:cNvPr>
          <p:cNvSpPr/>
          <p:nvPr/>
        </p:nvSpPr>
        <p:spPr>
          <a:xfrm>
            <a:off x="4307052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">
            <a:extLst>
              <a:ext uri="{FF2B5EF4-FFF2-40B4-BE49-F238E27FC236}">
                <a16:creationId xmlns="" xmlns:a16="http://schemas.microsoft.com/office/drawing/2014/main" id="{4415FD1F-A043-F849-BB65-23EBC7E6A740}"/>
              </a:ext>
            </a:extLst>
          </p:cNvPr>
          <p:cNvSpPr txBox="1"/>
          <p:nvPr/>
        </p:nvSpPr>
        <p:spPr>
          <a:xfrm>
            <a:off x="8451067" y="1856021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8" name="object 19">
            <a:extLst>
              <a:ext uri="{FF2B5EF4-FFF2-40B4-BE49-F238E27FC236}">
                <a16:creationId xmlns="" xmlns:a16="http://schemas.microsoft.com/office/drawing/2014/main" id="{DD82A6C1-90D4-6844-ABD4-A617DB840B39}"/>
              </a:ext>
            </a:extLst>
          </p:cNvPr>
          <p:cNvSpPr txBox="1"/>
          <p:nvPr/>
        </p:nvSpPr>
        <p:spPr>
          <a:xfrm>
            <a:off x="4356596" y="7380882"/>
            <a:ext cx="10513168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>
                <a:alpha val="0"/>
              </a:srgbClr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60" name="Triangle 59">
            <a:extLst>
              <a:ext uri="{FF2B5EF4-FFF2-40B4-BE49-F238E27FC236}">
                <a16:creationId xmlns="" xmlns:a16="http://schemas.microsoft.com/office/drawing/2014/main" id="{87E5E7BE-0BD8-5346-8808-A1E4BF11B0A8}"/>
              </a:ext>
            </a:extLst>
          </p:cNvPr>
          <p:cNvSpPr/>
          <p:nvPr/>
        </p:nvSpPr>
        <p:spPr>
          <a:xfrm rot="10800000">
            <a:off x="6156560" y="264413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2C4313F1-BBD0-714B-9061-0F8E76BCD6C5}"/>
              </a:ext>
            </a:extLst>
          </p:cNvPr>
          <p:cNvGrpSpPr/>
          <p:nvPr/>
        </p:nvGrpSpPr>
        <p:grpSpPr>
          <a:xfrm>
            <a:off x="9783719" y="4546866"/>
            <a:ext cx="1185830" cy="1008113"/>
            <a:chOff x="9685189" y="5464029"/>
            <a:chExt cx="1185830" cy="1008113"/>
          </a:xfrm>
        </p:grpSpPr>
        <p:sp>
          <p:nvSpPr>
            <p:cNvPr id="62" name="Triangle 61">
              <a:extLst>
                <a:ext uri="{FF2B5EF4-FFF2-40B4-BE49-F238E27FC236}">
                  <a16:creationId xmlns="" xmlns:a16="http://schemas.microsoft.com/office/drawing/2014/main" id="{4F15C657-5F6C-7D42-82F5-05B8C26617DD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3" name="Triangle 62">
              <a:extLst>
                <a:ext uri="{FF2B5EF4-FFF2-40B4-BE49-F238E27FC236}">
                  <a16:creationId xmlns="" xmlns:a16="http://schemas.microsoft.com/office/drawing/2014/main" id="{020EB5C7-E14F-6B46-9C64-E18AEF3C2426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0690111A-9B21-C243-A8C2-B46A7BBE21BB}"/>
              </a:ext>
            </a:extLst>
          </p:cNvPr>
          <p:cNvGrpSpPr/>
          <p:nvPr/>
        </p:nvGrpSpPr>
        <p:grpSpPr>
          <a:xfrm>
            <a:off x="4270788" y="3422445"/>
            <a:ext cx="5342392" cy="3501311"/>
            <a:chOff x="-4576573" y="4196793"/>
            <a:chExt cx="4320891" cy="2831837"/>
          </a:xfrm>
        </p:grpSpPr>
        <p:sp>
          <p:nvSpPr>
            <p:cNvPr id="66" name="Rectángulo redondeado 17">
              <a:extLst>
                <a:ext uri="{FF2B5EF4-FFF2-40B4-BE49-F238E27FC236}">
                  <a16:creationId xmlns="" xmlns:a16="http://schemas.microsoft.com/office/drawing/2014/main" id="{479C90FE-0D76-9C45-B530-86D9AAD5F622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7" name="Rectángulo redondeado 18">
              <a:extLst>
                <a:ext uri="{FF2B5EF4-FFF2-40B4-BE49-F238E27FC236}">
                  <a16:creationId xmlns="" xmlns:a16="http://schemas.microsoft.com/office/drawing/2014/main" id="{4E676180-467D-C04B-95E1-2B35FD982F06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68" name="object 9">
            <a:extLst>
              <a:ext uri="{FF2B5EF4-FFF2-40B4-BE49-F238E27FC236}">
                <a16:creationId xmlns="" xmlns:a16="http://schemas.microsoft.com/office/drawing/2014/main" id="{D5B30C56-48E1-9144-9685-DCD084A8DDAC}"/>
              </a:ext>
            </a:extLst>
          </p:cNvPr>
          <p:cNvSpPr txBox="1"/>
          <p:nvPr/>
        </p:nvSpPr>
        <p:spPr>
          <a:xfrm>
            <a:off x="5484799" y="4110829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69" name="object 12">
            <a:extLst>
              <a:ext uri="{FF2B5EF4-FFF2-40B4-BE49-F238E27FC236}">
                <a16:creationId xmlns="" xmlns:a16="http://schemas.microsoft.com/office/drawing/2014/main" id="{9CCBA925-BF67-9A46-B453-653FA2BFCD64}"/>
              </a:ext>
            </a:extLst>
          </p:cNvPr>
          <p:cNvSpPr txBox="1"/>
          <p:nvPr/>
        </p:nvSpPr>
        <p:spPr>
          <a:xfrm>
            <a:off x="5484799" y="3622606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6A585EC2-99A7-564B-A596-87A220416B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8009" y="4107271"/>
            <a:ext cx="737697" cy="750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7041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Tiene por objetivo entregar a las empresas un formato tipo de un programa de protección  auditiva:</a:t>
            </a:r>
          </a:p>
          <a:p>
            <a:endParaRPr lang="es-CL" sz="2100" b="1" dirty="0">
              <a:solidFill>
                <a:srgbClr val="0C662F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8" name="object 6">
            <a:extLst>
              <a:ext uri="{FF2B5EF4-FFF2-40B4-BE49-F238E27FC236}">
                <a16:creationId xmlns="" xmlns:a16="http://schemas.microsoft.com/office/drawing/2014/main" id="{13766563-C04A-C344-888B-7C680F4721C7}"/>
              </a:ext>
            </a:extLst>
          </p:cNvPr>
          <p:cNvSpPr/>
          <p:nvPr/>
        </p:nvSpPr>
        <p:spPr>
          <a:xfrm>
            <a:off x="10045228" y="1447190"/>
            <a:ext cx="6173169" cy="794991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Rectángulo 1">
            <a:extLst>
              <a:ext uri="{FF2B5EF4-FFF2-40B4-BE49-F238E27FC236}">
                <a16:creationId xmlns="" xmlns:a16="http://schemas.microsoft.com/office/drawing/2014/main" id="{AD7E12E0-F192-B04D-A985-B82EC5E3BA45}"/>
              </a:ext>
            </a:extLst>
          </p:cNvPr>
          <p:cNvSpPr/>
          <p:nvPr/>
        </p:nvSpPr>
        <p:spPr>
          <a:xfrm>
            <a:off x="4405669" y="2314480"/>
            <a:ext cx="5912270" cy="30418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s-CL" sz="19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debe acreditar elaboración e implementación de un Programa de protección auditiva que indique los procedimientos técnicos y administrativos para la selección, adquisición, mantención, almacenamiento  e inspección de los elementos de protección auditiva. </a:t>
            </a:r>
          </a:p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endParaRPr lang="es-CL" sz="19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s-CL" sz="19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Y acreditar mediante registro escrito la difusión  del programa de protección auditiva a todos los trabajadores expuestos a ruido laboral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6035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1" name="Rectángulo 1">
            <a:extLst>
              <a:ext uri="{FF2B5EF4-FFF2-40B4-BE49-F238E27FC236}">
                <a16:creationId xmlns="" xmlns:a16="http://schemas.microsoft.com/office/drawing/2014/main" id="{4C277FF1-C4F9-3B45-84A7-FF4E2FD15F8F}"/>
              </a:ext>
            </a:extLst>
          </p:cNvPr>
          <p:cNvSpPr/>
          <p:nvPr/>
        </p:nvSpPr>
        <p:spPr>
          <a:xfrm>
            <a:off x="4405669" y="2314480"/>
            <a:ext cx="745271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ertificación y Ficha Técnica del EPA.</a:t>
            </a:r>
          </a:p>
          <a:p>
            <a:pPr marL="365125" indent="-365125" algn="just">
              <a:lnSpc>
                <a:spcPct val="100000"/>
              </a:lnSpc>
              <a:buFont typeface="Arial"/>
              <a:buAutoNum type="alphaLcPeriod"/>
              <a:tabLst>
                <a:tab pos="365125" algn="l"/>
              </a:tabLst>
            </a:pPr>
            <a:endParaRPr lang="es-CL" sz="2000" b="1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Inspección visual.</a:t>
            </a:r>
          </a:p>
          <a:p>
            <a:pPr algn="just">
              <a:lnSpc>
                <a:spcPct val="100000"/>
              </a:lnSpc>
              <a:tabLst>
                <a:tab pos="365125" algn="l"/>
              </a:tabLst>
            </a:pPr>
            <a:endParaRPr lang="es-CL" sz="2000" b="1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Orejeras</a:t>
            </a: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Fuerza del arnés: observar el ajuste en la cabeza de la persona.</a:t>
            </a:r>
          </a:p>
          <a:p>
            <a:pPr marL="365125" marR="107950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lmohadillas: observar que no estén agrietadas, resquebrajadas, arrugadas  o endurecidas.</a:t>
            </a:r>
          </a:p>
          <a:p>
            <a:pPr marL="365125" marR="5080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elleno: observar que cuenten con relleno y que éste no presenten suciedad  o desgaste excesivo.</a:t>
            </a:r>
          </a:p>
          <a:p>
            <a:pPr marL="365125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mpatibilidad con otros EPP o accesorios de ropa.</a:t>
            </a: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15A83FCF-691C-E04A-A264-22CB2633743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72058" y="3083229"/>
            <a:ext cx="3406776" cy="34792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14376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3219B359-7AF0-A44E-8494-EC45787E7F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300" y="2772370"/>
            <a:ext cx="5080927" cy="5913865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2" name="Rectángulo 1">
            <a:extLst>
              <a:ext uri="{FF2B5EF4-FFF2-40B4-BE49-F238E27FC236}">
                <a16:creationId xmlns="" xmlns:a16="http://schemas.microsoft.com/office/drawing/2014/main" id="{C4926B85-A733-7D48-92D7-F20768FDDD02}"/>
              </a:ext>
            </a:extLst>
          </p:cNvPr>
          <p:cNvSpPr/>
          <p:nvPr/>
        </p:nvSpPr>
        <p:spPr>
          <a:xfrm>
            <a:off x="4405668" y="2052290"/>
            <a:ext cx="7871808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os tapones desechable se deben reemplazar cada vez que se retiran del conducto auditivo.</a:t>
            </a: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No son recomendables en ambientes de trabajo sucios.</a:t>
            </a:r>
          </a:p>
          <a:p>
            <a:pPr marL="346075" marR="42735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marR="427355" indent="-333375" algn="just" defTabSz="9864725">
              <a:lnSpc>
                <a:spcPct val="100000"/>
              </a:lnSpc>
              <a:buFont typeface="Wingdings"/>
              <a:buChar char=""/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os reutilizables se deben lavar al menos 1 vez a la semana, según recomendación del  fabricante y almacenar en un estuche apropiado. </a:t>
            </a: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Correcta colocación del tapón auditivo.</a:t>
            </a:r>
          </a:p>
        </p:txBody>
      </p:sp>
      <p:sp>
        <p:nvSpPr>
          <p:cNvPr id="16" name="object 5">
            <a:extLst>
              <a:ext uri="{FF2B5EF4-FFF2-40B4-BE49-F238E27FC236}">
                <a16:creationId xmlns="" xmlns:a16="http://schemas.microsoft.com/office/drawing/2014/main" id="{06AE85D5-60A7-DF45-A5B1-1F187F41DFFB}"/>
              </a:ext>
            </a:extLst>
          </p:cNvPr>
          <p:cNvSpPr txBox="1"/>
          <p:nvPr/>
        </p:nvSpPr>
        <p:spPr>
          <a:xfrm>
            <a:off x="10873572" y="6679856"/>
            <a:ext cx="2268000" cy="629018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Tapones Auditivo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5003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3" name="Rectángulo 1">
            <a:extLst>
              <a:ext uri="{FF2B5EF4-FFF2-40B4-BE49-F238E27FC236}">
                <a16:creationId xmlns="" xmlns:a16="http://schemas.microsoft.com/office/drawing/2014/main" id="{35F7BD9D-16E2-C04E-B3AB-0F0487BEF91B}"/>
              </a:ext>
            </a:extLst>
          </p:cNvPr>
          <p:cNvSpPr/>
          <p:nvPr/>
        </p:nvSpPr>
        <p:spPr>
          <a:xfrm>
            <a:off x="4405668" y="1836266"/>
            <a:ext cx="1089614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9738" marR="5080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debe incluir a todos los trabajadores que están expuestos a niveles sobre los  criterios de acción.</a:t>
            </a:r>
          </a:p>
          <a:p>
            <a:pPr marL="439738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marR="15875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trabajador deberá permanecer en vigilancia auditiva el período que dure su exposición  al ruido en su lugar de trabajo.</a:t>
            </a:r>
          </a:p>
          <a:p>
            <a:pPr marL="439738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marR="15875" indent="-427038" algn="just">
              <a:lnSpc>
                <a:spcPct val="100000"/>
              </a:lnSpc>
              <a:buFont typeface="Arial"/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efine los tipos de audiometrías (base, seguimiento, confirmación y egreso y para programa de conservación auditiva). </a:t>
            </a:r>
          </a:p>
          <a:p>
            <a:pPr marL="439738" marR="15875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eriodicidad de Audiometrías.</a:t>
            </a:r>
          </a:p>
        </p:txBody>
      </p:sp>
      <p:graphicFrame>
        <p:nvGraphicFramePr>
          <p:cNvPr id="18" name="object 5">
            <a:extLst>
              <a:ext uri="{FF2B5EF4-FFF2-40B4-BE49-F238E27FC236}">
                <a16:creationId xmlns="" xmlns:a16="http://schemas.microsoft.com/office/drawing/2014/main" id="{E66540F9-5F1E-6240-856B-AA0402BA30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545527"/>
              </p:ext>
            </p:extLst>
          </p:nvPr>
        </p:nvGraphicFramePr>
        <p:xfrm>
          <a:off x="5191700" y="5302639"/>
          <a:ext cx="10297145" cy="3116986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7281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7444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8245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04867">
                <a:tc>
                  <a:txBody>
                    <a:bodyPr/>
                    <a:lstStyle/>
                    <a:p>
                      <a:pPr marL="0" marR="7493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Nivel de  Seguimiento 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Exposición Ocupacional a Ruido 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38200" indent="0" algn="ctr" defTabSz="0">
                        <a:lnSpc>
                          <a:spcPct val="100000"/>
                        </a:lnSpc>
                        <a:spcBef>
                          <a:spcPts val="0"/>
                        </a:spcBef>
                        <a:tabLst/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         Periodicidad de Audiometrías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0.5 ≤ DRD ≤ 1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3 año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1 &lt; DRD ≤ 10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2 año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I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DRD &gt;10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1 año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V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Ruido Impulsivo ≥ 135 dB(C) Peak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6 mese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8019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3">
            <a:extLst>
              <a:ext uri="{FF2B5EF4-FFF2-40B4-BE49-F238E27FC236}">
                <a16:creationId xmlns="" xmlns:a16="http://schemas.microsoft.com/office/drawing/2014/main" id="{F736BF5A-7AEC-7547-85DA-5DFD9E67F746}"/>
              </a:ext>
            </a:extLst>
          </p:cNvPr>
          <p:cNvSpPr/>
          <p:nvPr/>
        </p:nvSpPr>
        <p:spPr>
          <a:xfrm>
            <a:off x="4788644" y="2433877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30">
                <a:moveTo>
                  <a:pt x="5392483" y="0"/>
                </a:moveTo>
                <a:lnTo>
                  <a:pt x="152095" y="0"/>
                </a:lnTo>
                <a:lnTo>
                  <a:pt x="104022" y="7752"/>
                </a:lnTo>
                <a:lnTo>
                  <a:pt x="62270" y="29342"/>
                </a:lnTo>
                <a:lnTo>
                  <a:pt x="29346" y="62270"/>
                </a:lnTo>
                <a:lnTo>
                  <a:pt x="7754" y="104038"/>
                </a:lnTo>
                <a:lnTo>
                  <a:pt x="0" y="152146"/>
                </a:lnTo>
                <a:lnTo>
                  <a:pt x="0" y="760476"/>
                </a:lnTo>
                <a:lnTo>
                  <a:pt x="7754" y="808583"/>
                </a:lnTo>
                <a:lnTo>
                  <a:pt x="29346" y="850351"/>
                </a:lnTo>
                <a:lnTo>
                  <a:pt x="62270" y="883279"/>
                </a:lnTo>
                <a:lnTo>
                  <a:pt x="104022" y="904869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69"/>
                </a:lnTo>
                <a:lnTo>
                  <a:pt x="5482358" y="883279"/>
                </a:lnTo>
                <a:lnTo>
                  <a:pt x="5515287" y="850351"/>
                </a:lnTo>
                <a:lnTo>
                  <a:pt x="5536877" y="808583"/>
                </a:lnTo>
                <a:lnTo>
                  <a:pt x="5544629" y="760476"/>
                </a:lnTo>
                <a:lnTo>
                  <a:pt x="5544629" y="152146"/>
                </a:lnTo>
                <a:lnTo>
                  <a:pt x="5536877" y="104038"/>
                </a:lnTo>
                <a:lnTo>
                  <a:pt x="5515287" y="62270"/>
                </a:lnTo>
                <a:lnTo>
                  <a:pt x="5482358" y="29342"/>
                </a:lnTo>
                <a:lnTo>
                  <a:pt x="5440591" y="7752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">
            <a:extLst>
              <a:ext uri="{FF2B5EF4-FFF2-40B4-BE49-F238E27FC236}">
                <a16:creationId xmlns="" xmlns:a16="http://schemas.microsoft.com/office/drawing/2014/main" id="{2031F994-A50A-1040-914F-42CDC28084F2}"/>
              </a:ext>
            </a:extLst>
          </p:cNvPr>
          <p:cNvSpPr txBox="1">
            <a:spLocks/>
          </p:cNvSpPr>
          <p:nvPr/>
        </p:nvSpPr>
        <p:spPr>
          <a:xfrm>
            <a:off x="5082366" y="2741943"/>
            <a:ext cx="2686144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ridad</a:t>
            </a:r>
          </a:p>
        </p:txBody>
      </p:sp>
      <p:sp>
        <p:nvSpPr>
          <p:cNvPr id="21" name="object 5">
            <a:extLst>
              <a:ext uri="{FF2B5EF4-FFF2-40B4-BE49-F238E27FC236}">
                <a16:creationId xmlns="" xmlns:a16="http://schemas.microsoft.com/office/drawing/2014/main" id="{ECC0CB63-35AD-EA42-8306-782C977A7CE4}"/>
              </a:ext>
            </a:extLst>
          </p:cNvPr>
          <p:cNvSpPr/>
          <p:nvPr/>
        </p:nvSpPr>
        <p:spPr>
          <a:xfrm>
            <a:off x="4788644" y="3710894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52"/>
                </a:lnTo>
                <a:lnTo>
                  <a:pt x="62270" y="29342"/>
                </a:lnTo>
                <a:lnTo>
                  <a:pt x="29346" y="62270"/>
                </a:lnTo>
                <a:lnTo>
                  <a:pt x="7754" y="104038"/>
                </a:lnTo>
                <a:lnTo>
                  <a:pt x="0" y="152146"/>
                </a:lnTo>
                <a:lnTo>
                  <a:pt x="0" y="760476"/>
                </a:lnTo>
                <a:lnTo>
                  <a:pt x="7754" y="808583"/>
                </a:lnTo>
                <a:lnTo>
                  <a:pt x="29346" y="850351"/>
                </a:lnTo>
                <a:lnTo>
                  <a:pt x="62270" y="883279"/>
                </a:lnTo>
                <a:lnTo>
                  <a:pt x="104022" y="904869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69"/>
                </a:lnTo>
                <a:lnTo>
                  <a:pt x="5482358" y="883279"/>
                </a:lnTo>
                <a:lnTo>
                  <a:pt x="5515287" y="850351"/>
                </a:lnTo>
                <a:lnTo>
                  <a:pt x="5536877" y="808583"/>
                </a:lnTo>
                <a:lnTo>
                  <a:pt x="5544629" y="760476"/>
                </a:lnTo>
                <a:lnTo>
                  <a:pt x="5544629" y="152146"/>
                </a:lnTo>
                <a:lnTo>
                  <a:pt x="5536877" y="104038"/>
                </a:lnTo>
                <a:lnTo>
                  <a:pt x="5515287" y="62270"/>
                </a:lnTo>
                <a:lnTo>
                  <a:pt x="5482358" y="29342"/>
                </a:lnTo>
                <a:lnTo>
                  <a:pt x="5440591" y="7752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6">
            <a:extLst>
              <a:ext uri="{FF2B5EF4-FFF2-40B4-BE49-F238E27FC236}">
                <a16:creationId xmlns="" xmlns:a16="http://schemas.microsoft.com/office/drawing/2014/main" id="{F3A09AB3-39B3-944A-823B-B77EEBEB8076}"/>
              </a:ext>
            </a:extLst>
          </p:cNvPr>
          <p:cNvSpPr/>
          <p:nvPr/>
        </p:nvSpPr>
        <p:spPr>
          <a:xfrm>
            <a:off x="4788644" y="5023817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64"/>
                </a:lnTo>
                <a:lnTo>
                  <a:pt x="62270" y="29378"/>
                </a:lnTo>
                <a:lnTo>
                  <a:pt x="29346" y="62325"/>
                </a:lnTo>
                <a:lnTo>
                  <a:pt x="7754" y="104087"/>
                </a:lnTo>
                <a:lnTo>
                  <a:pt x="0" y="152146"/>
                </a:lnTo>
                <a:lnTo>
                  <a:pt x="0" y="760603"/>
                </a:lnTo>
                <a:lnTo>
                  <a:pt x="7754" y="808648"/>
                </a:lnTo>
                <a:lnTo>
                  <a:pt x="29346" y="850378"/>
                </a:lnTo>
                <a:lnTo>
                  <a:pt x="62270" y="883288"/>
                </a:lnTo>
                <a:lnTo>
                  <a:pt x="104022" y="904870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70"/>
                </a:lnTo>
                <a:lnTo>
                  <a:pt x="5482358" y="883288"/>
                </a:lnTo>
                <a:lnTo>
                  <a:pt x="5515287" y="850378"/>
                </a:lnTo>
                <a:lnTo>
                  <a:pt x="5536877" y="808648"/>
                </a:lnTo>
                <a:lnTo>
                  <a:pt x="5544629" y="760603"/>
                </a:lnTo>
                <a:lnTo>
                  <a:pt x="5544629" y="152146"/>
                </a:lnTo>
                <a:lnTo>
                  <a:pt x="5536877" y="104087"/>
                </a:lnTo>
                <a:lnTo>
                  <a:pt x="5515287" y="62325"/>
                </a:lnTo>
                <a:lnTo>
                  <a:pt x="5482358" y="29378"/>
                </a:lnTo>
                <a:lnTo>
                  <a:pt x="5440591" y="7764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7">
            <a:extLst>
              <a:ext uri="{FF2B5EF4-FFF2-40B4-BE49-F238E27FC236}">
                <a16:creationId xmlns="" xmlns:a16="http://schemas.microsoft.com/office/drawing/2014/main" id="{208AE475-947B-3543-ACD1-A6545507B078}"/>
              </a:ext>
            </a:extLst>
          </p:cNvPr>
          <p:cNvSpPr/>
          <p:nvPr/>
        </p:nvSpPr>
        <p:spPr>
          <a:xfrm>
            <a:off x="4788644" y="6336866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51"/>
                </a:lnTo>
                <a:lnTo>
                  <a:pt x="62270" y="29333"/>
                </a:lnTo>
                <a:lnTo>
                  <a:pt x="29346" y="62243"/>
                </a:lnTo>
                <a:lnTo>
                  <a:pt x="7754" y="103973"/>
                </a:lnTo>
                <a:lnTo>
                  <a:pt x="0" y="152018"/>
                </a:lnTo>
                <a:lnTo>
                  <a:pt x="0" y="760450"/>
                </a:lnTo>
                <a:lnTo>
                  <a:pt x="7754" y="808523"/>
                </a:lnTo>
                <a:lnTo>
                  <a:pt x="29346" y="850275"/>
                </a:lnTo>
                <a:lnTo>
                  <a:pt x="62270" y="883199"/>
                </a:lnTo>
                <a:lnTo>
                  <a:pt x="104022" y="904791"/>
                </a:lnTo>
                <a:lnTo>
                  <a:pt x="152095" y="912545"/>
                </a:lnTo>
                <a:lnTo>
                  <a:pt x="5392483" y="912545"/>
                </a:lnTo>
                <a:lnTo>
                  <a:pt x="5440591" y="904791"/>
                </a:lnTo>
                <a:lnTo>
                  <a:pt x="5482358" y="883199"/>
                </a:lnTo>
                <a:lnTo>
                  <a:pt x="5515287" y="850275"/>
                </a:lnTo>
                <a:lnTo>
                  <a:pt x="5536877" y="808523"/>
                </a:lnTo>
                <a:lnTo>
                  <a:pt x="5544629" y="760450"/>
                </a:lnTo>
                <a:lnTo>
                  <a:pt x="5544629" y="152018"/>
                </a:lnTo>
                <a:lnTo>
                  <a:pt x="5536877" y="103973"/>
                </a:lnTo>
                <a:lnTo>
                  <a:pt x="5515287" y="62243"/>
                </a:lnTo>
                <a:lnTo>
                  <a:pt x="5482358" y="29333"/>
                </a:lnTo>
                <a:lnTo>
                  <a:pt x="5440591" y="7751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">
            <a:extLst>
              <a:ext uri="{FF2B5EF4-FFF2-40B4-BE49-F238E27FC236}">
                <a16:creationId xmlns="" xmlns:a16="http://schemas.microsoft.com/office/drawing/2014/main" id="{F4833ACE-8A20-8A45-AB06-7957558CE842}"/>
              </a:ext>
            </a:extLst>
          </p:cNvPr>
          <p:cNvSpPr txBox="1">
            <a:spLocks/>
          </p:cNvSpPr>
          <p:nvPr/>
        </p:nvSpPr>
        <p:spPr>
          <a:xfrm>
            <a:off x="5082366" y="4018114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tualidades</a:t>
            </a:r>
          </a:p>
        </p:txBody>
      </p:sp>
      <p:sp>
        <p:nvSpPr>
          <p:cNvPr id="25" name="object 4">
            <a:extLst>
              <a:ext uri="{FF2B5EF4-FFF2-40B4-BE49-F238E27FC236}">
                <a16:creationId xmlns="" xmlns:a16="http://schemas.microsoft.com/office/drawing/2014/main" id="{F1D117AC-619F-0C4B-A532-ED021DEE9A36}"/>
              </a:ext>
            </a:extLst>
          </p:cNvPr>
          <p:cNvSpPr txBox="1">
            <a:spLocks/>
          </p:cNvSpPr>
          <p:nvPr/>
        </p:nvSpPr>
        <p:spPr>
          <a:xfrm>
            <a:off x="5082366" y="5324577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resas</a:t>
            </a:r>
          </a:p>
        </p:txBody>
      </p:sp>
      <p:sp>
        <p:nvSpPr>
          <p:cNvPr id="26" name="object 4">
            <a:extLst>
              <a:ext uri="{FF2B5EF4-FFF2-40B4-BE49-F238E27FC236}">
                <a16:creationId xmlns="" xmlns:a16="http://schemas.microsoft.com/office/drawing/2014/main" id="{E68F8678-4CD9-2246-8969-EC40D90668D2}"/>
              </a:ext>
            </a:extLst>
          </p:cNvPr>
          <p:cNvSpPr txBox="1">
            <a:spLocks/>
          </p:cNvSpPr>
          <p:nvPr/>
        </p:nvSpPr>
        <p:spPr>
          <a:xfrm>
            <a:off x="5088212" y="6635708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dores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pic>
        <p:nvPicPr>
          <p:cNvPr id="27" name="Imagen 5">
            <a:extLst>
              <a:ext uri="{FF2B5EF4-FFF2-40B4-BE49-F238E27FC236}">
                <a16:creationId xmlns="" xmlns:a16="http://schemas.microsoft.com/office/drawing/2014/main" id="{7F0CABA4-710D-6343-B567-4819B1C308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0871" y="3794886"/>
            <a:ext cx="1005388" cy="9480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71594853-986E-7947-8159-374F1930B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95211" y="1836266"/>
            <a:ext cx="6539612" cy="651280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FC7A80C-2DD8-A241-9B21-9A97440A0C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0015" y="5234310"/>
            <a:ext cx="927100" cy="685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25C1FE16-E691-0F4E-9E3B-6B1DACEEBF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549" y="6494828"/>
            <a:ext cx="723900" cy="800100"/>
          </a:xfrm>
          <a:prstGeom prst="rect">
            <a:avLst/>
          </a:prstGeom>
        </p:spPr>
      </p:pic>
      <p:sp>
        <p:nvSpPr>
          <p:cNvPr id="29" name="object 9">
            <a:extLst>
              <a:ext uri="{FF2B5EF4-FFF2-40B4-BE49-F238E27FC236}">
                <a16:creationId xmlns="" xmlns:a16="http://schemas.microsoft.com/office/drawing/2014/main" id="{8CD6DFB2-0745-AE48-93A1-F7540991E2DA}"/>
              </a:ext>
            </a:extLst>
          </p:cNvPr>
          <p:cNvSpPr/>
          <p:nvPr/>
        </p:nvSpPr>
        <p:spPr>
          <a:xfrm>
            <a:off x="9600871" y="2511248"/>
            <a:ext cx="1000565" cy="94929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2430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13137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Estrategia ACHS en su implementación: </a:t>
            </a:r>
          </a:p>
          <a:p>
            <a:endParaRPr lang="es-CL" sz="25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pic>
        <p:nvPicPr>
          <p:cNvPr id="28" name="Imagen 5">
            <a:extLst>
              <a:ext uri="{FF2B5EF4-FFF2-40B4-BE49-F238E27FC236}">
                <a16:creationId xmlns="" xmlns:a16="http://schemas.microsoft.com/office/drawing/2014/main" id="{1F81DA14-FAD2-304D-B199-0D1ED9F82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9" name="Elipse 9">
            <a:extLst>
              <a:ext uri="{FF2B5EF4-FFF2-40B4-BE49-F238E27FC236}">
                <a16:creationId xmlns="" xmlns:a16="http://schemas.microsoft.com/office/drawing/2014/main" id="{0CA0FFFD-FD63-EF4B-83FA-995ED46987FA}"/>
              </a:ext>
            </a:extLst>
          </p:cNvPr>
          <p:cNvSpPr/>
          <p:nvPr/>
        </p:nvSpPr>
        <p:spPr>
          <a:xfrm>
            <a:off x="4140263" y="2346672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1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" name="object 43">
            <a:extLst>
              <a:ext uri="{FF2B5EF4-FFF2-40B4-BE49-F238E27FC236}">
                <a16:creationId xmlns="" xmlns:a16="http://schemas.microsoft.com/office/drawing/2014/main" id="{A1756244-1670-4443-8F7E-D2A7C79FF8AF}"/>
              </a:ext>
            </a:extLst>
          </p:cNvPr>
          <p:cNvSpPr txBox="1">
            <a:spLocks/>
          </p:cNvSpPr>
          <p:nvPr/>
        </p:nvSpPr>
        <p:spPr>
          <a:xfrm>
            <a:off x="5028249" y="1824561"/>
            <a:ext cx="7609267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Identificación y caracterización del peligro de higiene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33" name="object 53">
            <a:extLst>
              <a:ext uri="{FF2B5EF4-FFF2-40B4-BE49-F238E27FC236}">
                <a16:creationId xmlns="" xmlns:a16="http://schemas.microsoft.com/office/drawing/2014/main" id="{7A79AD10-167B-B948-B06E-EF0417A232F5}"/>
              </a:ext>
            </a:extLst>
          </p:cNvPr>
          <p:cNvSpPr txBox="1"/>
          <p:nvPr/>
        </p:nvSpPr>
        <p:spPr>
          <a:xfrm>
            <a:off x="13604175" y="3276426"/>
            <a:ext cx="1839872" cy="75084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Vigilancia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94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Integrada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object 54">
            <a:extLst>
              <a:ext uri="{FF2B5EF4-FFF2-40B4-BE49-F238E27FC236}">
                <a16:creationId xmlns="" xmlns:a16="http://schemas.microsoft.com/office/drawing/2014/main" id="{7AB2098B-5F2A-0043-AF69-24EAA2F91662}"/>
              </a:ext>
            </a:extLst>
          </p:cNvPr>
          <p:cNvSpPr txBox="1"/>
          <p:nvPr/>
        </p:nvSpPr>
        <p:spPr>
          <a:xfrm>
            <a:off x="13605956" y="5981311"/>
            <a:ext cx="1839872" cy="75084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2700" marR="5080" indent="-1270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Sistema  Preventivo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Cheurón 3">
            <a:extLst>
              <a:ext uri="{FF2B5EF4-FFF2-40B4-BE49-F238E27FC236}">
                <a16:creationId xmlns="" xmlns:a16="http://schemas.microsoft.com/office/drawing/2014/main" id="{6D2BA609-3404-A940-9A6E-B177B8EAED1E}"/>
              </a:ext>
            </a:extLst>
          </p:cNvPr>
          <p:cNvSpPr/>
          <p:nvPr/>
        </p:nvSpPr>
        <p:spPr>
          <a:xfrm>
            <a:off x="7271440" y="2243682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Diagnóstico situación  empresa respecto a  exigencias del protocolo.</a:t>
            </a:r>
          </a:p>
        </p:txBody>
      </p:sp>
      <p:sp>
        <p:nvSpPr>
          <p:cNvPr id="37" name="Cheurón 84">
            <a:extLst>
              <a:ext uri="{FF2B5EF4-FFF2-40B4-BE49-F238E27FC236}">
                <a16:creationId xmlns="" xmlns:a16="http://schemas.microsoft.com/office/drawing/2014/main" id="{C29EB99D-5718-FF45-9B38-CE9A1DFD2F40}"/>
              </a:ext>
            </a:extLst>
          </p:cNvPr>
          <p:cNvSpPr/>
          <p:nvPr/>
        </p:nvSpPr>
        <p:spPr>
          <a:xfrm>
            <a:off x="10171039" y="2247315"/>
            <a:ext cx="2412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Caracterización del riesgo.</a:t>
            </a:r>
          </a:p>
        </p:txBody>
      </p:sp>
      <p:sp>
        <p:nvSpPr>
          <p:cNvPr id="38" name="Pentágono 4">
            <a:extLst>
              <a:ext uri="{FF2B5EF4-FFF2-40B4-BE49-F238E27FC236}">
                <a16:creationId xmlns="" xmlns:a16="http://schemas.microsoft.com/office/drawing/2014/main" id="{4FE1D3B3-59DE-E34C-A24C-8C9A091CBE66}"/>
              </a:ext>
            </a:extLst>
          </p:cNvPr>
          <p:cNvSpPr/>
          <p:nvPr/>
        </p:nvSpPr>
        <p:spPr>
          <a:xfrm>
            <a:off x="5123596" y="2243682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dentificar el peligro de higiene.</a:t>
            </a:r>
          </a:p>
        </p:txBody>
      </p:sp>
      <p:sp>
        <p:nvSpPr>
          <p:cNvPr id="40" name="object 43">
            <a:extLst>
              <a:ext uri="{FF2B5EF4-FFF2-40B4-BE49-F238E27FC236}">
                <a16:creationId xmlns="" xmlns:a16="http://schemas.microsoft.com/office/drawing/2014/main" id="{0F895DBF-5609-9A4A-8657-34D7C04698C6}"/>
              </a:ext>
            </a:extLst>
          </p:cNvPr>
          <p:cNvSpPr txBox="1">
            <a:spLocks/>
          </p:cNvSpPr>
          <p:nvPr/>
        </p:nvSpPr>
        <p:spPr>
          <a:xfrm>
            <a:off x="4974351" y="3476559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Evaluación del problema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42" name="Cheurón 87">
            <a:extLst>
              <a:ext uri="{FF2B5EF4-FFF2-40B4-BE49-F238E27FC236}">
                <a16:creationId xmlns="" xmlns:a16="http://schemas.microsoft.com/office/drawing/2014/main" id="{8DD6C0E4-004B-2C49-A155-D39D4B17645D}"/>
              </a:ext>
            </a:extLst>
          </p:cNvPr>
          <p:cNvSpPr/>
          <p:nvPr/>
        </p:nvSpPr>
        <p:spPr>
          <a:xfrm>
            <a:off x="7233995" y="3930234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.</a:t>
            </a:r>
          </a:p>
        </p:txBody>
      </p:sp>
      <p:sp>
        <p:nvSpPr>
          <p:cNvPr id="44" name="Pentágono 89">
            <a:extLst>
              <a:ext uri="{FF2B5EF4-FFF2-40B4-BE49-F238E27FC236}">
                <a16:creationId xmlns="" xmlns:a16="http://schemas.microsoft.com/office/drawing/2014/main" id="{4599F31B-295C-134E-8B32-20C5848D2002}"/>
              </a:ext>
            </a:extLst>
          </p:cNvPr>
          <p:cNvSpPr/>
          <p:nvPr/>
        </p:nvSpPr>
        <p:spPr>
          <a:xfrm>
            <a:off x="5086151" y="3930234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 err="1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  <a:endParaRPr lang="es-CL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6" name="object 43">
            <a:extLst>
              <a:ext uri="{FF2B5EF4-FFF2-40B4-BE49-F238E27FC236}">
                <a16:creationId xmlns="" xmlns:a16="http://schemas.microsoft.com/office/drawing/2014/main" id="{3CC87413-6AE1-624E-9480-201CB3168E09}"/>
              </a:ext>
            </a:extLst>
          </p:cNvPr>
          <p:cNvSpPr txBox="1">
            <a:spLocks/>
          </p:cNvSpPr>
          <p:nvPr/>
        </p:nvSpPr>
        <p:spPr>
          <a:xfrm>
            <a:off x="4974576" y="5204751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Generar medidas de control preventivas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47" name="Cheurón 92">
            <a:extLst>
              <a:ext uri="{FF2B5EF4-FFF2-40B4-BE49-F238E27FC236}">
                <a16:creationId xmlns="" xmlns:a16="http://schemas.microsoft.com/office/drawing/2014/main" id="{0C61B74B-B8F6-504B-8188-C6389FEB92A9}"/>
              </a:ext>
            </a:extLst>
          </p:cNvPr>
          <p:cNvSpPr/>
          <p:nvPr/>
        </p:nvSpPr>
        <p:spPr>
          <a:xfrm>
            <a:off x="7234220" y="5658426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ngreso de trabajadores expuestos a vigilancia de la salud.</a:t>
            </a:r>
          </a:p>
        </p:txBody>
      </p:sp>
      <p:sp>
        <p:nvSpPr>
          <p:cNvPr id="48" name="Pentágono 93">
            <a:extLst>
              <a:ext uri="{FF2B5EF4-FFF2-40B4-BE49-F238E27FC236}">
                <a16:creationId xmlns="" xmlns:a16="http://schemas.microsoft.com/office/drawing/2014/main" id="{B6C8361F-CA7B-9246-91B6-37C8E6AB661A}"/>
              </a:ext>
            </a:extLst>
          </p:cNvPr>
          <p:cNvSpPr/>
          <p:nvPr/>
        </p:nvSpPr>
        <p:spPr>
          <a:xfrm>
            <a:off x="5086376" y="5658426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Generar recomendaciones.</a:t>
            </a:r>
          </a:p>
        </p:txBody>
      </p:sp>
      <p:sp>
        <p:nvSpPr>
          <p:cNvPr id="50" name="object 43">
            <a:extLst>
              <a:ext uri="{FF2B5EF4-FFF2-40B4-BE49-F238E27FC236}">
                <a16:creationId xmlns="" xmlns:a16="http://schemas.microsoft.com/office/drawing/2014/main" id="{B64D45A8-E93A-CE42-A4C4-481F8E010EE4}"/>
              </a:ext>
            </a:extLst>
          </p:cNvPr>
          <p:cNvSpPr txBox="1">
            <a:spLocks/>
          </p:cNvSpPr>
          <p:nvPr/>
        </p:nvSpPr>
        <p:spPr>
          <a:xfrm>
            <a:off x="4967908" y="6959678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Gestionar la exposición al riesgo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1" name="Cheurón 96">
            <a:extLst>
              <a:ext uri="{FF2B5EF4-FFF2-40B4-BE49-F238E27FC236}">
                <a16:creationId xmlns="" xmlns:a16="http://schemas.microsoft.com/office/drawing/2014/main" id="{8F55D062-F70E-E84F-A4B3-09B76686E66A}"/>
              </a:ext>
            </a:extLst>
          </p:cNvPr>
          <p:cNvSpPr/>
          <p:nvPr/>
        </p:nvSpPr>
        <p:spPr>
          <a:xfrm>
            <a:off x="7466673" y="7413353"/>
            <a:ext cx="3204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Ejecución recomendaciones y Plan de Acción para el protocolo.</a:t>
            </a:r>
          </a:p>
        </p:txBody>
      </p:sp>
      <p:sp>
        <p:nvSpPr>
          <p:cNvPr id="52" name="Cheurón 97">
            <a:extLst>
              <a:ext uri="{FF2B5EF4-FFF2-40B4-BE49-F238E27FC236}">
                <a16:creationId xmlns="" xmlns:a16="http://schemas.microsoft.com/office/drawing/2014/main" id="{E8C88C5D-9241-7140-832C-805EA1E806A0}"/>
              </a:ext>
            </a:extLst>
          </p:cNvPr>
          <p:cNvSpPr/>
          <p:nvPr/>
        </p:nvSpPr>
        <p:spPr>
          <a:xfrm>
            <a:off x="10333540" y="7416986"/>
            <a:ext cx="2520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Verificar y controlar recomendaciones</a:t>
            </a:r>
          </a:p>
        </p:txBody>
      </p:sp>
      <p:sp>
        <p:nvSpPr>
          <p:cNvPr id="53" name="Pentágono 98">
            <a:extLst>
              <a:ext uri="{FF2B5EF4-FFF2-40B4-BE49-F238E27FC236}">
                <a16:creationId xmlns="" xmlns:a16="http://schemas.microsoft.com/office/drawing/2014/main" id="{6CEAEE22-AEDD-9F49-9F16-D5E47193D1A7}"/>
              </a:ext>
            </a:extLst>
          </p:cNvPr>
          <p:cNvSpPr/>
          <p:nvPr/>
        </p:nvSpPr>
        <p:spPr>
          <a:xfrm>
            <a:off x="5086151" y="7413353"/>
            <a:ext cx="2736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ncorporar recomendaciones en Plan de Acción, intervención en empresas 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="" xmlns:a16="http://schemas.microsoft.com/office/drawing/2014/main" id="{A37D9F9A-674E-DA43-BD53-91F95A0D2D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12880663" y="1719972"/>
            <a:ext cx="620949" cy="6525004"/>
          </a:xfrm>
          <a:prstGeom prst="rect">
            <a:avLst/>
          </a:prstGeom>
        </p:spPr>
      </p:pic>
      <p:sp>
        <p:nvSpPr>
          <p:cNvPr id="57" name="Elipse 9">
            <a:extLst>
              <a:ext uri="{FF2B5EF4-FFF2-40B4-BE49-F238E27FC236}">
                <a16:creationId xmlns="" xmlns:a16="http://schemas.microsoft.com/office/drawing/2014/main" id="{F453BDE2-513E-3A48-A048-A7BE2C2CBC15}"/>
              </a:ext>
            </a:extLst>
          </p:cNvPr>
          <p:cNvSpPr/>
          <p:nvPr/>
        </p:nvSpPr>
        <p:spPr>
          <a:xfrm>
            <a:off x="4117614" y="4011328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2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8" name="Elipse 9">
            <a:extLst>
              <a:ext uri="{FF2B5EF4-FFF2-40B4-BE49-F238E27FC236}">
                <a16:creationId xmlns="" xmlns:a16="http://schemas.microsoft.com/office/drawing/2014/main" id="{FCBC7926-1CDD-D244-95B2-DDE985C7A0A0}"/>
              </a:ext>
            </a:extLst>
          </p:cNvPr>
          <p:cNvSpPr/>
          <p:nvPr/>
        </p:nvSpPr>
        <p:spPr>
          <a:xfrm>
            <a:off x="4113353" y="5712227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3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9" name="Elipse 9">
            <a:extLst>
              <a:ext uri="{FF2B5EF4-FFF2-40B4-BE49-F238E27FC236}">
                <a16:creationId xmlns="" xmlns:a16="http://schemas.microsoft.com/office/drawing/2014/main" id="{D8F1018C-48FB-384F-86BB-E5681825F463}"/>
              </a:ext>
            </a:extLst>
          </p:cNvPr>
          <p:cNvSpPr/>
          <p:nvPr/>
        </p:nvSpPr>
        <p:spPr>
          <a:xfrm>
            <a:off x="4119907" y="7467154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4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0" name="Imagen 5">
            <a:extLst>
              <a:ext uri="{FF2B5EF4-FFF2-40B4-BE49-F238E27FC236}">
                <a16:creationId xmlns="" xmlns:a16="http://schemas.microsoft.com/office/drawing/2014/main" id="{87693034-FA20-2746-BFB0-531BBFF017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44758" y="4199095"/>
            <a:ext cx="1547608" cy="14593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00563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Conclusiones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4</a:t>
            </a:r>
          </a:p>
        </p:txBody>
      </p:sp>
      <p:sp>
        <p:nvSpPr>
          <p:cNvPr id="8" name="CuadroTexto 1">
            <a:extLst>
              <a:ext uri="{FF2B5EF4-FFF2-40B4-BE49-F238E27FC236}">
                <a16:creationId xmlns="" xmlns:a16="http://schemas.microsoft.com/office/drawing/2014/main" id="{56622E19-B211-CE41-83CD-60BEB6E380B5}"/>
              </a:ext>
            </a:extLst>
          </p:cNvPr>
          <p:cNvSpPr txBox="1"/>
          <p:nvPr/>
        </p:nvSpPr>
        <p:spPr>
          <a:xfrm>
            <a:off x="5004668" y="2067098"/>
            <a:ext cx="789285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ecuerde siempre, revisar y aplicar las medidas revisadas durante la presente capacitación.</a:t>
            </a:r>
          </a:p>
          <a:p>
            <a:pPr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demás, de entender la importancia de la implementación del protocolo PREXOR para su seguridad y con ello, se estará cumpliendo a lo que exige la autoridad.</a:t>
            </a:r>
          </a:p>
          <a:p>
            <a:pPr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="" xmlns:a16="http://schemas.microsoft.com/office/drawing/2014/main" id="{8018F269-E547-6D4B-BE13-2ADD8C3546F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0124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24FC70C-A834-904F-ADC2-967802037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93500" y="5220643"/>
            <a:ext cx="2787921" cy="2612327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D889DAD-BF80-844F-86E5-584DCF099494}"/>
              </a:ext>
            </a:extLst>
          </p:cNvPr>
          <p:cNvSpPr/>
          <p:nvPr/>
        </p:nvSpPr>
        <p:spPr>
          <a:xfrm>
            <a:off x="741397" y="2100697"/>
            <a:ext cx="1800559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CL" sz="21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Objetivo: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FA7C559C-1DA8-B74B-B1FE-E42E33AB8101}"/>
              </a:ext>
            </a:extLst>
          </p:cNvPr>
          <p:cNvSpPr/>
          <p:nvPr/>
        </p:nvSpPr>
        <p:spPr>
          <a:xfrm>
            <a:off x="741398" y="2711559"/>
            <a:ext cx="32526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rgbClr val="84B727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8" name="Rectangle 3">
            <a:extLst>
              <a:ext uri="{FF2B5EF4-FFF2-40B4-BE49-F238E27FC236}">
                <a16:creationId xmlns="" xmlns:a16="http://schemas.microsoft.com/office/drawing/2014/main" id="{B28DE497-16CB-EF4E-B644-071FCA00FB72}"/>
              </a:ext>
            </a:extLst>
          </p:cNvPr>
          <p:cNvSpPr/>
          <p:nvPr/>
        </p:nvSpPr>
        <p:spPr>
          <a:xfrm>
            <a:off x="4642787" y="2215255"/>
            <a:ext cx="96894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fundir el protocolo PREXOR, conforme a lo que exige la autoridad.</a:t>
            </a:r>
          </a:p>
        </p:txBody>
      </p:sp>
      <p:sp>
        <p:nvSpPr>
          <p:cNvPr id="30" name="Rectangle 2">
            <a:extLst>
              <a:ext uri="{FF2B5EF4-FFF2-40B4-BE49-F238E27FC236}">
                <a16:creationId xmlns="" xmlns:a16="http://schemas.microsoft.com/office/drawing/2014/main" id="{F1268F0F-D87C-5641-A7EA-0DC5300C1EBD}"/>
              </a:ext>
            </a:extLst>
          </p:cNvPr>
          <p:cNvSpPr/>
          <p:nvPr/>
        </p:nvSpPr>
        <p:spPr>
          <a:xfrm>
            <a:off x="741397" y="3086588"/>
            <a:ext cx="3252623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CL" sz="21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Público Objetivo: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="" xmlns:a16="http://schemas.microsoft.com/office/drawing/2014/main" id="{EF9EC006-7532-6D4D-A848-A4198109E27F}"/>
              </a:ext>
            </a:extLst>
          </p:cNvPr>
          <p:cNvSpPr/>
          <p:nvPr/>
        </p:nvSpPr>
        <p:spPr>
          <a:xfrm>
            <a:off x="4642787" y="3025974"/>
            <a:ext cx="71287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r trabajador de empresa afiliada a la ACHS y que por sus labores se encuentren expuestos a ruido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0F0AB97-6E7D-8D41-BE9C-C0D7DC06275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5028" y="5220642"/>
            <a:ext cx="2787920" cy="26123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F96B8151-4FFA-A244-B38D-E31D1492B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6589" y="5310194"/>
            <a:ext cx="2417026" cy="2433225"/>
          </a:xfrm>
          <a:prstGeom prst="rect">
            <a:avLst/>
          </a:prstGeom>
        </p:spPr>
      </p:pic>
      <p:sp>
        <p:nvSpPr>
          <p:cNvPr id="46" name="Título 30">
            <a:extLst>
              <a:ext uri="{FF2B5EF4-FFF2-40B4-BE49-F238E27FC236}">
                <a16:creationId xmlns="" xmlns:a16="http://schemas.microsoft.com/office/drawing/2014/main" id="{815EEFD0-C5D1-7548-96D8-24B121823D4C}"/>
              </a:ext>
            </a:extLst>
          </p:cNvPr>
          <p:cNvSpPr txBox="1">
            <a:spLocks/>
          </p:cNvSpPr>
          <p:nvPr/>
        </p:nvSpPr>
        <p:spPr>
          <a:xfrm>
            <a:off x="-1332036" y="655277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  <p:sp>
        <p:nvSpPr>
          <p:cNvPr id="22" name="Triangle 21">
            <a:extLst>
              <a:ext uri="{FF2B5EF4-FFF2-40B4-BE49-F238E27FC236}">
                <a16:creationId xmlns="" xmlns:a16="http://schemas.microsoft.com/office/drawing/2014/main" id="{C304169E-51F4-5D4C-A9C5-3D26FDC4FA51}"/>
              </a:ext>
            </a:extLst>
          </p:cNvPr>
          <p:cNvSpPr/>
          <p:nvPr/>
        </p:nvSpPr>
        <p:spPr>
          <a:xfrm rot="5400000">
            <a:off x="7003504" y="6448213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23" name="Triangle 22">
            <a:extLst>
              <a:ext uri="{FF2B5EF4-FFF2-40B4-BE49-F238E27FC236}">
                <a16:creationId xmlns="" xmlns:a16="http://schemas.microsoft.com/office/drawing/2014/main" id="{B79EBA7E-6103-9449-97A6-90A0BB07C62A}"/>
              </a:ext>
            </a:extLst>
          </p:cNvPr>
          <p:cNvSpPr/>
          <p:nvPr/>
        </p:nvSpPr>
        <p:spPr>
          <a:xfrm rot="5400000">
            <a:off x="11326526" y="6475483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8262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100012" y="1548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881139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7440513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694514" y="578538"/>
            <a:ext cx="8242962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802369" y="507417"/>
            <a:ext cx="1702603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881139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9767995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7920479" y="3837713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4980" y="3449192"/>
            <a:ext cx="2132879" cy="21378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68862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100012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881139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7440513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721167" y="540282"/>
            <a:ext cx="8307082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802369" y="507417"/>
            <a:ext cx="1702603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881139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9767995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7780346" y="3894402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315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315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315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315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4218" y="3400425"/>
            <a:ext cx="2176029" cy="2200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6241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16202025" cy="9001125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" name="Picture 2" descr="F:\ACHS\111_Maestro\wetransfer-93e533\001-Industria-Baja\Toma2-Baja\800_9825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52660" y="-1"/>
            <a:ext cx="634936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AD0D66B-6497-FD43-99BD-F7D008CB345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676" y="3889965"/>
            <a:ext cx="2989308" cy="1221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67010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32985" y="0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ED71B396-163D-6C4B-8947-0DE6450E7200}"/>
              </a:ext>
            </a:extLst>
          </p:cNvPr>
          <p:cNvSpPr/>
          <p:nvPr/>
        </p:nvSpPr>
        <p:spPr>
          <a:xfrm>
            <a:off x="671737" y="3568909"/>
            <a:ext cx="32526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spc="300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Antecedentes del ruido en Chile: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="" xmlns:a16="http://schemas.microsoft.com/office/drawing/2014/main" id="{20BFEC8A-EA74-FA45-BC69-D4B81B44D072}"/>
              </a:ext>
            </a:extLst>
          </p:cNvPr>
          <p:cNvSpPr/>
          <p:nvPr/>
        </p:nvSpPr>
        <p:spPr>
          <a:xfrm>
            <a:off x="4873889" y="3066797"/>
            <a:ext cx="979345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0025" marR="297815" indent="-187325" algn="just">
              <a:lnSpc>
                <a:spcPct val="100000"/>
              </a:lnSpc>
              <a:spcBef>
                <a:spcPts val="95"/>
              </a:spcBef>
              <a:buClr>
                <a:srgbClr val="027839"/>
              </a:buClr>
              <a:buChar char="•"/>
              <a:tabLst>
                <a:tab pos="200660" algn="l"/>
              </a:tabLst>
            </a:pP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e 1033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asos de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fermos profesionales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ctaminados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or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MPIN RM (2005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–  2009) el 66,6% corresponde a hipoacusia neurosensorial producida por</a:t>
            </a:r>
            <a:r>
              <a:rPr lang="es-CL" sz="2000" spc="1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uido.</a:t>
            </a: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algn="just">
              <a:lnSpc>
                <a:spcPct val="100000"/>
              </a:lnSpc>
              <a:spcBef>
                <a:spcPts val="20"/>
              </a:spcBef>
              <a:buClr>
                <a:srgbClr val="027839"/>
              </a:buClr>
              <a:buFont typeface="Arial"/>
              <a:buChar char="•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00025" marR="5080" indent="-187325">
              <a:lnSpc>
                <a:spcPct val="100000"/>
              </a:lnSpc>
              <a:buClr>
                <a:srgbClr val="027839"/>
              </a:buClr>
              <a:buChar char="•"/>
              <a:tabLst>
                <a:tab pos="200660" algn="l"/>
              </a:tabLst>
            </a:pP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Hipoacusia causada por ruido es la principal causa de indemnizaciones y pensiones, con un 80% de las incapacidades permanentes (2005 –</a:t>
            </a:r>
            <a:r>
              <a:rPr lang="es-CL" sz="2000" spc="9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2009).</a:t>
            </a: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Rectángulo 17">
            <a:extLst>
              <a:ext uri="{FF2B5EF4-FFF2-40B4-BE49-F238E27FC236}">
                <a16:creationId xmlns="" xmlns:a16="http://schemas.microsoft.com/office/drawing/2014/main" id="{8E38AD2D-DA9C-5A4E-BC3E-8EEA0409F202}"/>
              </a:ext>
            </a:extLst>
          </p:cNvPr>
          <p:cNvSpPr/>
          <p:nvPr/>
        </p:nvSpPr>
        <p:spPr>
          <a:xfrm rot="18900000">
            <a:off x="3551549" y="3528762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835A4DE-C1A7-F94A-8812-6AF4C2C6689E}"/>
              </a:ext>
            </a:extLst>
          </p:cNvPr>
          <p:cNvSpPr/>
          <p:nvPr/>
        </p:nvSpPr>
        <p:spPr>
          <a:xfrm>
            <a:off x="7958986" y="4238953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 </a:t>
            </a:r>
            <a:endParaRPr lang="en-US" dirty="0"/>
          </a:p>
        </p:txBody>
      </p:sp>
      <p:pic>
        <p:nvPicPr>
          <p:cNvPr id="41" name="Picture 40">
            <a:extLst>
              <a:ext uri="{FF2B5EF4-FFF2-40B4-BE49-F238E27FC236}">
                <a16:creationId xmlns="" xmlns:a16="http://schemas.microsoft.com/office/drawing/2014/main" id="{E62AB79F-3248-CF48-B01D-FF6E03C1DD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17436" y="6732810"/>
            <a:ext cx="1224136" cy="60265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1F433C66-9B81-3345-B6B4-ABE99EBF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2677" y="6480221"/>
            <a:ext cx="1296013" cy="10368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82401634-2EA2-A640-BF65-00E112BF2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8309" y="6480221"/>
            <a:ext cx="928487" cy="103681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462F2DE7-A1B8-2047-A279-F6A4240FC7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42190" y="6459271"/>
            <a:ext cx="941731" cy="107871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="" xmlns:a16="http://schemas.microsoft.com/office/drawing/2014/main" id="{4F2A3C20-F498-A840-8607-8FB78DB59E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39244" y="6372203"/>
            <a:ext cx="1365673" cy="11489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="" xmlns:a16="http://schemas.microsoft.com/office/drawing/2014/main" id="{1B81011E-0A69-CA40-99A2-0ACA24AA220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0318" y="5977157"/>
            <a:ext cx="1296013" cy="1938992"/>
          </a:xfrm>
          <a:prstGeom prst="rect">
            <a:avLst/>
          </a:prstGeom>
        </p:spPr>
      </p:pic>
      <p:sp>
        <p:nvSpPr>
          <p:cNvPr id="53" name="Título 30">
            <a:extLst>
              <a:ext uri="{FF2B5EF4-FFF2-40B4-BE49-F238E27FC236}">
                <a16:creationId xmlns="" xmlns:a16="http://schemas.microsoft.com/office/drawing/2014/main" id="{DEE13684-1FE4-C94C-BF8E-65E7F5AB3091}"/>
              </a:ext>
            </a:extLst>
          </p:cNvPr>
          <p:cNvSpPr txBox="1">
            <a:spLocks/>
          </p:cNvSpPr>
          <p:nvPr/>
        </p:nvSpPr>
        <p:spPr>
          <a:xfrm>
            <a:off x="-1332869" y="667862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40193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Rectángulo 17">
            <a:extLst>
              <a:ext uri="{FF2B5EF4-FFF2-40B4-BE49-F238E27FC236}">
                <a16:creationId xmlns="" xmlns:a16="http://schemas.microsoft.com/office/drawing/2014/main" id="{8E38AD2D-DA9C-5A4E-BC3E-8EEA0409F202}"/>
              </a:ext>
            </a:extLst>
          </p:cNvPr>
          <p:cNvSpPr/>
          <p:nvPr/>
        </p:nvSpPr>
        <p:spPr>
          <a:xfrm rot="18900000">
            <a:off x="3551549" y="3528762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835A4DE-C1A7-F94A-8812-6AF4C2C6689E}"/>
              </a:ext>
            </a:extLst>
          </p:cNvPr>
          <p:cNvSpPr/>
          <p:nvPr/>
        </p:nvSpPr>
        <p:spPr>
          <a:xfrm>
            <a:off x="7958986" y="4238953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 </a:t>
            </a:r>
            <a:endParaRPr lang="en-US" dirty="0"/>
          </a:p>
        </p:txBody>
      </p:sp>
      <p:sp>
        <p:nvSpPr>
          <p:cNvPr id="18" name="Rectangle 2">
            <a:extLst>
              <a:ext uri="{FF2B5EF4-FFF2-40B4-BE49-F238E27FC236}">
                <a16:creationId xmlns="" xmlns:a16="http://schemas.microsoft.com/office/drawing/2014/main" id="{FA35ADE2-7854-AF4C-8324-BB27F14E5806}"/>
              </a:ext>
            </a:extLst>
          </p:cNvPr>
          <p:cNvSpPr/>
          <p:nvPr/>
        </p:nvSpPr>
        <p:spPr>
          <a:xfrm>
            <a:off x="704717" y="3653030"/>
            <a:ext cx="325262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¿Qué es la Hipoacusia?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="" xmlns:a16="http://schemas.microsoft.com/office/drawing/2014/main" id="{7A43C4C6-937F-9A43-B58B-20E648566210}"/>
              </a:ext>
            </a:extLst>
          </p:cNvPr>
          <p:cNvSpPr/>
          <p:nvPr/>
        </p:nvSpPr>
        <p:spPr>
          <a:xfrm>
            <a:off x="4573084" y="2056392"/>
            <a:ext cx="73271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95"/>
              </a:spcBef>
              <a:buChar char="•"/>
              <a:tabLst>
                <a:tab pos="240665" algn="l"/>
                <a:tab pos="241300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ruido mata las células nerviosas (ciliadas) que se encuentran en la cóclea.</a:t>
            </a: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41300" marR="16510" indent="-228600">
              <a:lnSpc>
                <a:spcPct val="100000"/>
              </a:lnSpc>
              <a:buChar char="•"/>
              <a:tabLst>
                <a:tab pos="240665" algn="l"/>
                <a:tab pos="241300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l producirse la hipoacusia sensorioneural, esta condición es permanente e irreversible.</a:t>
            </a:r>
          </a:p>
        </p:txBody>
      </p:sp>
      <p:sp>
        <p:nvSpPr>
          <p:cNvPr id="21" name="object 3">
            <a:extLst>
              <a:ext uri="{FF2B5EF4-FFF2-40B4-BE49-F238E27FC236}">
                <a16:creationId xmlns="" xmlns:a16="http://schemas.microsoft.com/office/drawing/2014/main" id="{BC842FAD-BE3A-D84F-955B-1C80FAFA6E5B}"/>
              </a:ext>
            </a:extLst>
          </p:cNvPr>
          <p:cNvSpPr/>
          <p:nvPr/>
        </p:nvSpPr>
        <p:spPr>
          <a:xfrm>
            <a:off x="4357059" y="5488969"/>
            <a:ext cx="3600000" cy="252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5">
            <a:extLst>
              <a:ext uri="{FF2B5EF4-FFF2-40B4-BE49-F238E27FC236}">
                <a16:creationId xmlns="" xmlns:a16="http://schemas.microsoft.com/office/drawing/2014/main" id="{279F0E19-2442-334A-80B8-145A40172B20}"/>
              </a:ext>
            </a:extLst>
          </p:cNvPr>
          <p:cNvSpPr/>
          <p:nvPr/>
        </p:nvSpPr>
        <p:spPr>
          <a:xfrm>
            <a:off x="8605467" y="5488969"/>
            <a:ext cx="3600000" cy="2520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="" xmlns:a16="http://schemas.microsoft.com/office/drawing/2014/main" id="{7D2E86CE-3814-C943-9304-97D4C11443E3}"/>
              </a:ext>
            </a:extLst>
          </p:cNvPr>
          <p:cNvSpPr/>
          <p:nvPr/>
        </p:nvSpPr>
        <p:spPr>
          <a:xfrm>
            <a:off x="12205468" y="2720727"/>
            <a:ext cx="3667270" cy="3099996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">
            <a:extLst>
              <a:ext uri="{FF2B5EF4-FFF2-40B4-BE49-F238E27FC236}">
                <a16:creationId xmlns="" xmlns:a16="http://schemas.microsoft.com/office/drawing/2014/main" id="{5EA02496-3678-D443-BA26-28A8E9F4E356}"/>
              </a:ext>
            </a:extLst>
          </p:cNvPr>
          <p:cNvSpPr txBox="1"/>
          <p:nvPr/>
        </p:nvSpPr>
        <p:spPr>
          <a:xfrm>
            <a:off x="4933059" y="8188217"/>
            <a:ext cx="24480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a) Células</a:t>
            </a:r>
            <a:r>
              <a:rPr sz="1600" b="1" spc="-6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 </a:t>
            </a: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vivas</a:t>
            </a:r>
            <a:endParaRPr sz="1600" b="1" dirty="0">
              <a:solidFill>
                <a:srgbClr val="15C047"/>
              </a:solidFill>
              <a:latin typeface="ACHS Nueva Sans SemiBold" pitchFamily="2" charset="77"/>
              <a:cs typeface="Arial"/>
            </a:endParaRPr>
          </a:p>
        </p:txBody>
      </p:sp>
      <p:sp>
        <p:nvSpPr>
          <p:cNvPr id="28" name="object 6">
            <a:extLst>
              <a:ext uri="{FF2B5EF4-FFF2-40B4-BE49-F238E27FC236}">
                <a16:creationId xmlns="" xmlns:a16="http://schemas.microsoft.com/office/drawing/2014/main" id="{4F0F554C-7900-8940-A443-F69F3EE0F43E}"/>
              </a:ext>
            </a:extLst>
          </p:cNvPr>
          <p:cNvSpPr txBox="1"/>
          <p:nvPr/>
        </p:nvSpPr>
        <p:spPr>
          <a:xfrm>
            <a:off x="9107537" y="8234546"/>
            <a:ext cx="24480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b) Células</a:t>
            </a:r>
            <a:r>
              <a:rPr sz="1600" b="1" spc="-60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 </a:t>
            </a: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muertas</a:t>
            </a:r>
            <a:endParaRPr sz="1600" b="1" dirty="0">
              <a:solidFill>
                <a:srgbClr val="15C047"/>
              </a:solidFill>
              <a:latin typeface="ACHS Nueva Sans SemiBold" pitchFamily="2" charset="77"/>
              <a:cs typeface="Arial"/>
            </a:endParaRPr>
          </a:p>
        </p:txBody>
      </p:sp>
      <p:sp>
        <p:nvSpPr>
          <p:cNvPr id="30" name="Título 30">
            <a:extLst>
              <a:ext uri="{FF2B5EF4-FFF2-40B4-BE49-F238E27FC236}">
                <a16:creationId xmlns="" xmlns:a16="http://schemas.microsoft.com/office/drawing/2014/main" id="{E1D224D7-C31B-134D-B6B3-A261EC321714}"/>
              </a:ext>
            </a:extLst>
          </p:cNvPr>
          <p:cNvSpPr txBox="1">
            <a:spLocks/>
          </p:cNvSpPr>
          <p:nvPr/>
        </p:nvSpPr>
        <p:spPr>
          <a:xfrm>
            <a:off x="-1350368" y="652049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432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6ABF5848-1C0E-714B-9BED-F6707C1A0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9242" y="2029701"/>
            <a:ext cx="469900" cy="32385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Cronología - documento de referencia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="" xmlns:a16="http://schemas.microsoft.com/office/drawing/2014/main" id="{7982E062-BD0D-5841-9DDB-BF4D1FFC8213}"/>
              </a:ext>
            </a:extLst>
          </p:cNvPr>
          <p:cNvSpPr/>
          <p:nvPr/>
        </p:nvSpPr>
        <p:spPr>
          <a:xfrm>
            <a:off x="4162705" y="2924446"/>
            <a:ext cx="2975321" cy="12476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32384">
              <a:lnSpc>
                <a:spcPct val="100600"/>
              </a:lnSpc>
              <a:spcBef>
                <a:spcPts val="90"/>
              </a:spcBef>
            </a:pPr>
            <a:r>
              <a:rPr lang="es-CL" sz="19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Decreto Supremo  N°594/99.</a:t>
            </a:r>
          </a:p>
          <a:p>
            <a:pPr marL="12700" marR="32384">
              <a:lnSpc>
                <a:spcPct val="100600"/>
              </a:lnSpc>
              <a:spcBef>
                <a:spcPts val="90"/>
              </a:spcBef>
            </a:pPr>
            <a:endParaRPr lang="es-CL" sz="19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12700">
              <a:lnSpc>
                <a:spcPts val="2030"/>
              </a:lnSpc>
            </a:pPr>
            <a:r>
              <a:rPr lang="es-CL" sz="19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Artículos N° 70 al N°  82.</a:t>
            </a:r>
          </a:p>
        </p:txBody>
      </p:sp>
      <p:sp>
        <p:nvSpPr>
          <p:cNvPr id="45" name="object 9">
            <a:extLst>
              <a:ext uri="{FF2B5EF4-FFF2-40B4-BE49-F238E27FC236}">
                <a16:creationId xmlns="" xmlns:a16="http://schemas.microsoft.com/office/drawing/2014/main" id="{14BCC1F5-0FAE-DF46-956D-0B8DD642D195}"/>
              </a:ext>
            </a:extLst>
          </p:cNvPr>
          <p:cNvSpPr txBox="1"/>
          <p:nvPr/>
        </p:nvSpPr>
        <p:spPr>
          <a:xfrm>
            <a:off x="7668964" y="2144043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Instructivo para la Aplicación del DS 594/99. Ruido.</a:t>
            </a:r>
          </a:p>
        </p:txBody>
      </p:sp>
      <p:sp>
        <p:nvSpPr>
          <p:cNvPr id="46" name="object 10">
            <a:extLst>
              <a:ext uri="{FF2B5EF4-FFF2-40B4-BE49-F238E27FC236}">
                <a16:creationId xmlns="" xmlns:a16="http://schemas.microsoft.com/office/drawing/2014/main" id="{C23867DD-0FD2-C541-95A8-881DA4893DEF}"/>
              </a:ext>
            </a:extLst>
          </p:cNvPr>
          <p:cNvSpPr txBox="1"/>
          <p:nvPr/>
        </p:nvSpPr>
        <p:spPr>
          <a:xfrm>
            <a:off x="7668963" y="3027192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ara la Selección y Control de EPA.</a:t>
            </a:r>
          </a:p>
        </p:txBody>
      </p:sp>
      <p:sp>
        <p:nvSpPr>
          <p:cNvPr id="47" name="object 11">
            <a:extLst>
              <a:ext uri="{FF2B5EF4-FFF2-40B4-BE49-F238E27FC236}">
                <a16:creationId xmlns="" xmlns:a16="http://schemas.microsoft.com/office/drawing/2014/main" id="{3F8412A7-0B6F-1542-A6B3-8B5962782A4E}"/>
              </a:ext>
            </a:extLst>
          </p:cNvPr>
          <p:cNvSpPr txBox="1"/>
          <p:nvPr/>
        </p:nvSpPr>
        <p:spPr>
          <a:xfrm>
            <a:off x="7668964" y="3963296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reventiva para los trabajadores expuestos a ruido.</a:t>
            </a:r>
          </a:p>
        </p:txBody>
      </p:sp>
      <p:sp>
        <p:nvSpPr>
          <p:cNvPr id="48" name="object 12">
            <a:extLst>
              <a:ext uri="{FF2B5EF4-FFF2-40B4-BE49-F238E27FC236}">
                <a16:creationId xmlns="" xmlns:a16="http://schemas.microsoft.com/office/drawing/2014/main" id="{BF5DA3B3-46FA-CF45-9539-D2158F4DFE42}"/>
              </a:ext>
            </a:extLst>
          </p:cNvPr>
          <p:cNvSpPr txBox="1"/>
          <p:nvPr/>
        </p:nvSpPr>
        <p:spPr>
          <a:xfrm>
            <a:off x="7668964" y="4745513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ara la Mantención y Calibración de la Instrumentación.</a:t>
            </a:r>
          </a:p>
        </p:txBody>
      </p:sp>
      <p:sp>
        <p:nvSpPr>
          <p:cNvPr id="50" name="object 8">
            <a:extLst>
              <a:ext uri="{FF2B5EF4-FFF2-40B4-BE49-F238E27FC236}">
                <a16:creationId xmlns="" xmlns:a16="http://schemas.microsoft.com/office/drawing/2014/main" id="{0E063969-426C-FC43-84F4-6055944EBB96}"/>
              </a:ext>
            </a:extLst>
          </p:cNvPr>
          <p:cNvSpPr/>
          <p:nvPr/>
        </p:nvSpPr>
        <p:spPr>
          <a:xfrm>
            <a:off x="5652740" y="5796706"/>
            <a:ext cx="8928992" cy="29523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5903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3">
            <a:extLst>
              <a:ext uri="{FF2B5EF4-FFF2-40B4-BE49-F238E27FC236}">
                <a16:creationId xmlns="" xmlns:a16="http://schemas.microsoft.com/office/drawing/2014/main" id="{FA878700-5E88-4D49-88EF-5D548B5436DF}"/>
              </a:ext>
            </a:extLst>
          </p:cNvPr>
          <p:cNvSpPr/>
          <p:nvPr/>
        </p:nvSpPr>
        <p:spPr>
          <a:xfrm>
            <a:off x="4716636" y="2005250"/>
            <a:ext cx="979345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55930" algn="just"/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Propósito:</a:t>
            </a:r>
          </a:p>
          <a:p>
            <a:pPr marR="455930" algn="just"/>
            <a:endParaRPr lang="es-CL" sz="20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45593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ntribuir a disminuir la incidencia y prevalencia de hipoacusia de origen ocupacional.</a:t>
            </a:r>
          </a:p>
          <a:p>
            <a:pPr marL="472440" marR="455930" indent="-1905" algn="just"/>
            <a:endParaRPr lang="es-CL" sz="20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455930" algn="just"/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¿Cómo?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ableciendo criterios comunes sobre el concepto de exposición, para efectuar el seguimiento y establecer los  plazos en las acciones preventivas y sanitarias.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Objetivo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  <p:sp>
        <p:nvSpPr>
          <p:cNvPr id="20" name="object 4">
            <a:extLst>
              <a:ext uri="{FF2B5EF4-FFF2-40B4-BE49-F238E27FC236}">
                <a16:creationId xmlns="" xmlns:a16="http://schemas.microsoft.com/office/drawing/2014/main" id="{956AFCBE-B3DD-AE4A-A86E-5C5154430AF7}"/>
              </a:ext>
            </a:extLst>
          </p:cNvPr>
          <p:cNvSpPr/>
          <p:nvPr/>
        </p:nvSpPr>
        <p:spPr>
          <a:xfrm>
            <a:off x="7308074" y="5153618"/>
            <a:ext cx="4610582" cy="318608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1460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Entrada en vigencia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  <p:sp>
        <p:nvSpPr>
          <p:cNvPr id="15" name="object 4">
            <a:extLst>
              <a:ext uri="{FF2B5EF4-FFF2-40B4-BE49-F238E27FC236}">
                <a16:creationId xmlns="" xmlns:a16="http://schemas.microsoft.com/office/drawing/2014/main" id="{017CA75E-BC94-2B46-85A0-05DAEE1FFD39}"/>
              </a:ext>
            </a:extLst>
          </p:cNvPr>
          <p:cNvSpPr/>
          <p:nvPr/>
        </p:nvSpPr>
        <p:spPr>
          <a:xfrm>
            <a:off x="5590598" y="1835263"/>
            <a:ext cx="8861836" cy="52499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12700">
            <a:solidFill>
              <a:schemeClr val="tx1">
                <a:lumMod val="50000"/>
                <a:lumOff val="50000"/>
                <a:alpha val="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6">
            <a:extLst>
              <a:ext uri="{FF2B5EF4-FFF2-40B4-BE49-F238E27FC236}">
                <a16:creationId xmlns="" xmlns:a16="http://schemas.microsoft.com/office/drawing/2014/main" id="{53E91256-BB9E-D84A-B1F3-96BEEC3B88D5}"/>
              </a:ext>
            </a:extLst>
          </p:cNvPr>
          <p:cNvSpPr/>
          <p:nvPr/>
        </p:nvSpPr>
        <p:spPr>
          <a:xfrm>
            <a:off x="6948884" y="5308606"/>
            <a:ext cx="2599806" cy="1635796"/>
          </a:xfrm>
          <a:custGeom>
            <a:avLst/>
            <a:gdLst/>
            <a:ahLst/>
            <a:cxnLst/>
            <a:rect l="l" t="t" r="r" b="b"/>
            <a:pathLst>
              <a:path w="1790700" h="1054100">
                <a:moveTo>
                  <a:pt x="0" y="527050"/>
                </a:moveTo>
                <a:lnTo>
                  <a:pt x="7538" y="458340"/>
                </a:lnTo>
                <a:lnTo>
                  <a:pt x="29524" y="392303"/>
                </a:lnTo>
                <a:lnTo>
                  <a:pt x="65015" y="329493"/>
                </a:lnTo>
                <a:lnTo>
                  <a:pt x="113066" y="270467"/>
                </a:lnTo>
                <a:lnTo>
                  <a:pt x="141508" y="242546"/>
                </a:lnTo>
                <a:lnTo>
                  <a:pt x="172736" y="215780"/>
                </a:lnTo>
                <a:lnTo>
                  <a:pt x="206632" y="190237"/>
                </a:lnTo>
                <a:lnTo>
                  <a:pt x="243079" y="165986"/>
                </a:lnTo>
                <a:lnTo>
                  <a:pt x="281959" y="143099"/>
                </a:lnTo>
                <a:lnTo>
                  <a:pt x="323154" y="121643"/>
                </a:lnTo>
                <a:lnTo>
                  <a:pt x="366546" y="101689"/>
                </a:lnTo>
                <a:lnTo>
                  <a:pt x="412017" y="83305"/>
                </a:lnTo>
                <a:lnTo>
                  <a:pt x="459448" y="66562"/>
                </a:lnTo>
                <a:lnTo>
                  <a:pt x="508723" y="51529"/>
                </a:lnTo>
                <a:lnTo>
                  <a:pt x="559723" y="38274"/>
                </a:lnTo>
                <a:lnTo>
                  <a:pt x="612331" y="26869"/>
                </a:lnTo>
                <a:lnTo>
                  <a:pt x="666427" y="17381"/>
                </a:lnTo>
                <a:lnTo>
                  <a:pt x="721895" y="9881"/>
                </a:lnTo>
                <a:lnTo>
                  <a:pt x="778617" y="4437"/>
                </a:lnTo>
                <a:lnTo>
                  <a:pt x="836474" y="1121"/>
                </a:lnTo>
                <a:lnTo>
                  <a:pt x="895350" y="0"/>
                </a:lnTo>
                <a:lnTo>
                  <a:pt x="954225" y="1121"/>
                </a:lnTo>
                <a:lnTo>
                  <a:pt x="1012082" y="4437"/>
                </a:lnTo>
                <a:lnTo>
                  <a:pt x="1068804" y="9881"/>
                </a:lnTo>
                <a:lnTo>
                  <a:pt x="1124272" y="17381"/>
                </a:lnTo>
                <a:lnTo>
                  <a:pt x="1178368" y="26869"/>
                </a:lnTo>
                <a:lnTo>
                  <a:pt x="1230976" y="38274"/>
                </a:lnTo>
                <a:lnTo>
                  <a:pt x="1281976" y="51529"/>
                </a:lnTo>
                <a:lnTo>
                  <a:pt x="1331251" y="66562"/>
                </a:lnTo>
                <a:lnTo>
                  <a:pt x="1378682" y="83305"/>
                </a:lnTo>
                <a:lnTo>
                  <a:pt x="1424153" y="101689"/>
                </a:lnTo>
                <a:lnTo>
                  <a:pt x="1467545" y="121643"/>
                </a:lnTo>
                <a:lnTo>
                  <a:pt x="1508740" y="143099"/>
                </a:lnTo>
                <a:lnTo>
                  <a:pt x="1547620" y="165986"/>
                </a:lnTo>
                <a:lnTo>
                  <a:pt x="1584067" y="190237"/>
                </a:lnTo>
                <a:lnTo>
                  <a:pt x="1617963" y="215780"/>
                </a:lnTo>
                <a:lnTo>
                  <a:pt x="1649191" y="242546"/>
                </a:lnTo>
                <a:lnTo>
                  <a:pt x="1677633" y="270467"/>
                </a:lnTo>
                <a:lnTo>
                  <a:pt x="1703170" y="299473"/>
                </a:lnTo>
                <a:lnTo>
                  <a:pt x="1745059" y="360460"/>
                </a:lnTo>
                <a:lnTo>
                  <a:pt x="1773915" y="424953"/>
                </a:lnTo>
                <a:lnTo>
                  <a:pt x="1788795" y="492396"/>
                </a:lnTo>
                <a:lnTo>
                  <a:pt x="1790700" y="527050"/>
                </a:lnTo>
                <a:lnTo>
                  <a:pt x="1788795" y="561703"/>
                </a:lnTo>
                <a:lnTo>
                  <a:pt x="1773915" y="629146"/>
                </a:lnTo>
                <a:lnTo>
                  <a:pt x="1745059" y="693639"/>
                </a:lnTo>
                <a:lnTo>
                  <a:pt x="1703170" y="754626"/>
                </a:lnTo>
                <a:lnTo>
                  <a:pt x="1677633" y="783632"/>
                </a:lnTo>
                <a:lnTo>
                  <a:pt x="1649191" y="811553"/>
                </a:lnTo>
                <a:lnTo>
                  <a:pt x="1617963" y="838319"/>
                </a:lnTo>
                <a:lnTo>
                  <a:pt x="1584067" y="863862"/>
                </a:lnTo>
                <a:lnTo>
                  <a:pt x="1547620" y="888113"/>
                </a:lnTo>
                <a:lnTo>
                  <a:pt x="1508740" y="911000"/>
                </a:lnTo>
                <a:lnTo>
                  <a:pt x="1467545" y="932456"/>
                </a:lnTo>
                <a:lnTo>
                  <a:pt x="1424153" y="952410"/>
                </a:lnTo>
                <a:lnTo>
                  <a:pt x="1378682" y="970794"/>
                </a:lnTo>
                <a:lnTo>
                  <a:pt x="1331251" y="987537"/>
                </a:lnTo>
                <a:lnTo>
                  <a:pt x="1281976" y="1002570"/>
                </a:lnTo>
                <a:lnTo>
                  <a:pt x="1230976" y="1015825"/>
                </a:lnTo>
                <a:lnTo>
                  <a:pt x="1178368" y="1027230"/>
                </a:lnTo>
                <a:lnTo>
                  <a:pt x="1124272" y="1036718"/>
                </a:lnTo>
                <a:lnTo>
                  <a:pt x="1068804" y="1044218"/>
                </a:lnTo>
                <a:lnTo>
                  <a:pt x="1012082" y="1049662"/>
                </a:lnTo>
                <a:lnTo>
                  <a:pt x="954225" y="1052978"/>
                </a:lnTo>
                <a:lnTo>
                  <a:pt x="895350" y="1054100"/>
                </a:lnTo>
                <a:lnTo>
                  <a:pt x="836474" y="1052978"/>
                </a:lnTo>
                <a:lnTo>
                  <a:pt x="778617" y="1049662"/>
                </a:lnTo>
                <a:lnTo>
                  <a:pt x="721895" y="1044218"/>
                </a:lnTo>
                <a:lnTo>
                  <a:pt x="666427" y="1036718"/>
                </a:lnTo>
                <a:lnTo>
                  <a:pt x="612331" y="1027230"/>
                </a:lnTo>
                <a:lnTo>
                  <a:pt x="559723" y="1015825"/>
                </a:lnTo>
                <a:lnTo>
                  <a:pt x="508723" y="1002570"/>
                </a:lnTo>
                <a:lnTo>
                  <a:pt x="459448" y="987537"/>
                </a:lnTo>
                <a:lnTo>
                  <a:pt x="412017" y="970794"/>
                </a:lnTo>
                <a:lnTo>
                  <a:pt x="366546" y="952410"/>
                </a:lnTo>
                <a:lnTo>
                  <a:pt x="323154" y="932456"/>
                </a:lnTo>
                <a:lnTo>
                  <a:pt x="281959" y="911000"/>
                </a:lnTo>
                <a:lnTo>
                  <a:pt x="243079" y="888113"/>
                </a:lnTo>
                <a:lnTo>
                  <a:pt x="206632" y="863862"/>
                </a:lnTo>
                <a:lnTo>
                  <a:pt x="172736" y="838319"/>
                </a:lnTo>
                <a:lnTo>
                  <a:pt x="141508" y="811553"/>
                </a:lnTo>
                <a:lnTo>
                  <a:pt x="113066" y="783632"/>
                </a:lnTo>
                <a:lnTo>
                  <a:pt x="87529" y="754626"/>
                </a:lnTo>
                <a:lnTo>
                  <a:pt x="45640" y="693639"/>
                </a:lnTo>
                <a:lnTo>
                  <a:pt x="16784" y="629146"/>
                </a:lnTo>
                <a:lnTo>
                  <a:pt x="1904" y="561703"/>
                </a:lnTo>
                <a:lnTo>
                  <a:pt x="0" y="527050"/>
                </a:lnTo>
                <a:close/>
              </a:path>
            </a:pathLst>
          </a:custGeom>
          <a:ln w="28575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7">
            <a:extLst>
              <a:ext uri="{FF2B5EF4-FFF2-40B4-BE49-F238E27FC236}">
                <a16:creationId xmlns="" xmlns:a16="http://schemas.microsoft.com/office/drawing/2014/main" id="{753414C7-D45B-FA4C-984A-C32B701A77DC}"/>
              </a:ext>
            </a:extLst>
          </p:cNvPr>
          <p:cNvSpPr/>
          <p:nvPr/>
        </p:nvSpPr>
        <p:spPr>
          <a:xfrm>
            <a:off x="8791905" y="3692518"/>
            <a:ext cx="2396985" cy="1616088"/>
          </a:xfrm>
          <a:custGeom>
            <a:avLst/>
            <a:gdLst/>
            <a:ahLst/>
            <a:cxnLst/>
            <a:rect l="l" t="t" r="r" b="b"/>
            <a:pathLst>
              <a:path w="1651000" h="1041400">
                <a:moveTo>
                  <a:pt x="0" y="520700"/>
                </a:moveTo>
                <a:lnTo>
                  <a:pt x="8197" y="447043"/>
                </a:lnTo>
                <a:lnTo>
                  <a:pt x="32044" y="376558"/>
                </a:lnTo>
                <a:lnTo>
                  <a:pt x="70423" y="309949"/>
                </a:lnTo>
                <a:lnTo>
                  <a:pt x="94713" y="278320"/>
                </a:lnTo>
                <a:lnTo>
                  <a:pt x="122217" y="247923"/>
                </a:lnTo>
                <a:lnTo>
                  <a:pt x="152795" y="218849"/>
                </a:lnTo>
                <a:lnTo>
                  <a:pt x="186309" y="191185"/>
                </a:lnTo>
                <a:lnTo>
                  <a:pt x="222617" y="165020"/>
                </a:lnTo>
                <a:lnTo>
                  <a:pt x="261581" y="140441"/>
                </a:lnTo>
                <a:lnTo>
                  <a:pt x="303061" y="117536"/>
                </a:lnTo>
                <a:lnTo>
                  <a:pt x="346916" y="96395"/>
                </a:lnTo>
                <a:lnTo>
                  <a:pt x="393008" y="77104"/>
                </a:lnTo>
                <a:lnTo>
                  <a:pt x="441198" y="59753"/>
                </a:lnTo>
                <a:lnTo>
                  <a:pt x="491344" y="44429"/>
                </a:lnTo>
                <a:lnTo>
                  <a:pt x="543307" y="31221"/>
                </a:lnTo>
                <a:lnTo>
                  <a:pt x="596949" y="20216"/>
                </a:lnTo>
                <a:lnTo>
                  <a:pt x="652128" y="11504"/>
                </a:lnTo>
                <a:lnTo>
                  <a:pt x="708706" y="5171"/>
                </a:lnTo>
                <a:lnTo>
                  <a:pt x="766543" y="1307"/>
                </a:lnTo>
                <a:lnTo>
                  <a:pt x="825500" y="0"/>
                </a:lnTo>
                <a:lnTo>
                  <a:pt x="884456" y="1307"/>
                </a:lnTo>
                <a:lnTo>
                  <a:pt x="942293" y="5171"/>
                </a:lnTo>
                <a:lnTo>
                  <a:pt x="998871" y="11504"/>
                </a:lnTo>
                <a:lnTo>
                  <a:pt x="1054050" y="20216"/>
                </a:lnTo>
                <a:lnTo>
                  <a:pt x="1107692" y="31221"/>
                </a:lnTo>
                <a:lnTo>
                  <a:pt x="1159655" y="44429"/>
                </a:lnTo>
                <a:lnTo>
                  <a:pt x="1209801" y="59753"/>
                </a:lnTo>
                <a:lnTo>
                  <a:pt x="1257991" y="77104"/>
                </a:lnTo>
                <a:lnTo>
                  <a:pt x="1304083" y="96395"/>
                </a:lnTo>
                <a:lnTo>
                  <a:pt x="1347938" y="117536"/>
                </a:lnTo>
                <a:lnTo>
                  <a:pt x="1389418" y="140441"/>
                </a:lnTo>
                <a:lnTo>
                  <a:pt x="1428382" y="165020"/>
                </a:lnTo>
                <a:lnTo>
                  <a:pt x="1464690" y="191185"/>
                </a:lnTo>
                <a:lnTo>
                  <a:pt x="1498204" y="218849"/>
                </a:lnTo>
                <a:lnTo>
                  <a:pt x="1528782" y="247923"/>
                </a:lnTo>
                <a:lnTo>
                  <a:pt x="1556286" y="278320"/>
                </a:lnTo>
                <a:lnTo>
                  <a:pt x="1580576" y="309949"/>
                </a:lnTo>
                <a:lnTo>
                  <a:pt x="1601513" y="342725"/>
                </a:lnTo>
                <a:lnTo>
                  <a:pt x="1632765" y="411360"/>
                </a:lnTo>
                <a:lnTo>
                  <a:pt x="1648927" y="483519"/>
                </a:lnTo>
                <a:lnTo>
                  <a:pt x="1651000" y="520700"/>
                </a:lnTo>
                <a:lnTo>
                  <a:pt x="1648927" y="557895"/>
                </a:lnTo>
                <a:lnTo>
                  <a:pt x="1632765" y="630077"/>
                </a:lnTo>
                <a:lnTo>
                  <a:pt x="1601513" y="698725"/>
                </a:lnTo>
                <a:lnTo>
                  <a:pt x="1580576" y="731504"/>
                </a:lnTo>
                <a:lnTo>
                  <a:pt x="1556286" y="763136"/>
                </a:lnTo>
                <a:lnTo>
                  <a:pt x="1528782" y="793532"/>
                </a:lnTo>
                <a:lnTo>
                  <a:pt x="1498204" y="822605"/>
                </a:lnTo>
                <a:lnTo>
                  <a:pt x="1464690" y="850266"/>
                </a:lnTo>
                <a:lnTo>
                  <a:pt x="1428382" y="876429"/>
                </a:lnTo>
                <a:lnTo>
                  <a:pt x="1389418" y="901004"/>
                </a:lnTo>
                <a:lnTo>
                  <a:pt x="1347938" y="923903"/>
                </a:lnTo>
                <a:lnTo>
                  <a:pt x="1304083" y="945040"/>
                </a:lnTo>
                <a:lnTo>
                  <a:pt x="1257991" y="964325"/>
                </a:lnTo>
                <a:lnTo>
                  <a:pt x="1209801" y="981671"/>
                </a:lnTo>
                <a:lnTo>
                  <a:pt x="1159655" y="996989"/>
                </a:lnTo>
                <a:lnTo>
                  <a:pt x="1107692" y="1010192"/>
                </a:lnTo>
                <a:lnTo>
                  <a:pt x="1054050" y="1021192"/>
                </a:lnTo>
                <a:lnTo>
                  <a:pt x="998871" y="1029901"/>
                </a:lnTo>
                <a:lnTo>
                  <a:pt x="942293" y="1036230"/>
                </a:lnTo>
                <a:lnTo>
                  <a:pt x="884456" y="1040093"/>
                </a:lnTo>
                <a:lnTo>
                  <a:pt x="825500" y="1041400"/>
                </a:lnTo>
                <a:lnTo>
                  <a:pt x="766543" y="1040093"/>
                </a:lnTo>
                <a:lnTo>
                  <a:pt x="708706" y="1036230"/>
                </a:lnTo>
                <a:lnTo>
                  <a:pt x="652128" y="1029901"/>
                </a:lnTo>
                <a:lnTo>
                  <a:pt x="596949" y="1021192"/>
                </a:lnTo>
                <a:lnTo>
                  <a:pt x="543307" y="1010192"/>
                </a:lnTo>
                <a:lnTo>
                  <a:pt x="491344" y="996989"/>
                </a:lnTo>
                <a:lnTo>
                  <a:pt x="441198" y="981671"/>
                </a:lnTo>
                <a:lnTo>
                  <a:pt x="393008" y="964325"/>
                </a:lnTo>
                <a:lnTo>
                  <a:pt x="346916" y="945040"/>
                </a:lnTo>
                <a:lnTo>
                  <a:pt x="303061" y="923903"/>
                </a:lnTo>
                <a:lnTo>
                  <a:pt x="261581" y="901004"/>
                </a:lnTo>
                <a:lnTo>
                  <a:pt x="222617" y="876429"/>
                </a:lnTo>
                <a:lnTo>
                  <a:pt x="186309" y="850266"/>
                </a:lnTo>
                <a:lnTo>
                  <a:pt x="152795" y="822605"/>
                </a:lnTo>
                <a:lnTo>
                  <a:pt x="122217" y="793532"/>
                </a:lnTo>
                <a:lnTo>
                  <a:pt x="94713" y="763136"/>
                </a:lnTo>
                <a:lnTo>
                  <a:pt x="70423" y="731504"/>
                </a:lnTo>
                <a:lnTo>
                  <a:pt x="49486" y="698725"/>
                </a:lnTo>
                <a:lnTo>
                  <a:pt x="18234" y="630077"/>
                </a:lnTo>
                <a:lnTo>
                  <a:pt x="2072" y="557895"/>
                </a:lnTo>
                <a:lnTo>
                  <a:pt x="0" y="520700"/>
                </a:lnTo>
                <a:close/>
              </a:path>
            </a:pathLst>
          </a:custGeom>
          <a:ln w="28575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5">
            <a:extLst>
              <a:ext uri="{FF2B5EF4-FFF2-40B4-BE49-F238E27FC236}">
                <a16:creationId xmlns="" xmlns:a16="http://schemas.microsoft.com/office/drawing/2014/main" id="{0B9D6F38-5A64-924B-AC35-EDE35DDDC367}"/>
              </a:ext>
            </a:extLst>
          </p:cNvPr>
          <p:cNvSpPr txBox="1"/>
          <p:nvPr/>
        </p:nvSpPr>
        <p:spPr>
          <a:xfrm>
            <a:off x="5508724" y="7537437"/>
            <a:ext cx="9118700" cy="1047723"/>
          </a:xfrm>
          <a:prstGeom prst="rect">
            <a:avLst/>
          </a:prstGeom>
          <a:solidFill>
            <a:srgbClr val="EAEADE"/>
          </a:solidFill>
        </p:spPr>
        <p:txBody>
          <a:bodyPr vert="horz" wrap="square" lIns="0" tIns="123190" rIns="0" bIns="0" rtlCol="0" anchor="ctr">
            <a:spAutoFit/>
          </a:bodyPr>
          <a:lstStyle/>
          <a:p>
            <a:pPr marL="182563" marR="520065" algn="ctr"/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El Prexor constituye la Norma Técnica N° 125, aprobada por el 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ecreto N° 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1.029 exento, vigente a partir del 26 de noviembre de 2011. 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Actualizado por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 el Decreto N°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1.052 del 14 de octubre de 2013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786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>
            <a:extLst>
              <a:ext uri="{FF2B5EF4-FFF2-40B4-BE49-F238E27FC236}">
                <a16:creationId xmlns="" xmlns:a16="http://schemas.microsoft.com/office/drawing/2014/main" id="{B849A91E-35D2-0A44-A609-7D554BA0DA7D}"/>
              </a:ext>
            </a:extLst>
          </p:cNvPr>
          <p:cNvSpPr/>
          <p:nvPr/>
        </p:nvSpPr>
        <p:spPr>
          <a:xfrm>
            <a:off x="4716636" y="2005250"/>
            <a:ext cx="1000911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REXOR incorpora el concepto de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Criterio de Acción”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que corresponde a un valor preventivo, que si es excedido, la empresa deberá implementar medidas de control de ruido inmediatas, destinadas a  disminuir la exposición ocupacional a ruido de los trabajadores, como también para gestionar el  Programa de Vigilancia de la Salud.</a:t>
            </a:r>
          </a:p>
          <a:p>
            <a:pPr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</a:t>
            </a:r>
            <a:r>
              <a:rPr lang="es-CL" sz="20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Criterio de Acción”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ntempla los siguientes indicadores:</a:t>
            </a:r>
            <a:r>
              <a:rPr lang="es-CL" sz="20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Dosis de Acción”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o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Nivel de Acción”:</a:t>
            </a: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55600" indent="-3429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Dosis de Acción igual 0,5 </a:t>
            </a:r>
            <a:r>
              <a:rPr lang="es-CL" sz="2000" b="1" dirty="0" err="1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ó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 50%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e valor corresponde a la mitad de la dosis de  ruido máxima (DMP=1) establecida en el DS N°594/1999.</a:t>
            </a:r>
          </a:p>
          <a:p>
            <a:pPr marL="355600" indent="-342900" algn="just">
              <a:buFont typeface="+mj-lt"/>
              <a:buAutoNum type="alphaLcPeriod"/>
            </a:pPr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55600" indent="-3429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Nivel de Acción igual a 82 dB(A)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e valor es equivalente a una Dosis de Ruido  de 0,5 </a:t>
            </a:r>
            <a:r>
              <a:rPr lang="es-CL" sz="2000" dirty="0" err="1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ó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50%, para un tiempo efectivo de exposición diario de 8 horas.</a:t>
            </a:r>
          </a:p>
          <a:p>
            <a:pPr marL="12700"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Nivel de Acción para Ruido Impulsivo: 135 dB (C) </a:t>
            </a:r>
            <a:r>
              <a:rPr lang="es-CL" sz="2000" b="1" dirty="0" err="1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peak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.</a:t>
            </a: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Criterios de evaluación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="" xmlns:a16="http://schemas.microsoft.com/office/drawing/2014/main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6804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Cursos">
  <a:themeElements>
    <a:clrScheme name="Achs3 1">
      <a:dk1>
        <a:srgbClr val="0C662F"/>
      </a:dk1>
      <a:lt1>
        <a:srgbClr val="FFFFFF"/>
      </a:lt1>
      <a:dk2>
        <a:srgbClr val="616161"/>
      </a:dk2>
      <a:lt2>
        <a:srgbClr val="83B727"/>
      </a:lt2>
      <a:accent1>
        <a:srgbClr val="00857D"/>
      </a:accent1>
      <a:accent2>
        <a:srgbClr val="F2E500"/>
      </a:accent2>
      <a:accent3>
        <a:srgbClr val="8A8A8A"/>
      </a:accent3>
      <a:accent4>
        <a:srgbClr val="6BBBAE"/>
      </a:accent4>
      <a:accent5>
        <a:srgbClr val="ECC3B2"/>
      </a:accent5>
      <a:accent6>
        <a:srgbClr val="890C58"/>
      </a:accent6>
      <a:hlink>
        <a:srgbClr val="83BD00"/>
      </a:hlink>
      <a:folHlink>
        <a:srgbClr val="004F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Cursos" id="{96174EF1-8331-8045-959A-A6FB4647A317}" vid="{C83503E1-D048-A04D-B18C-3A138303575F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F14F3C46-5951-4225-9FAA-6343289CFDF6}"/>
</file>

<file path=customXml/itemProps2.xml><?xml version="1.0" encoding="utf-8"?>
<ds:datastoreItem xmlns:ds="http://schemas.openxmlformats.org/officeDocument/2006/customXml" ds:itemID="{8598F4E9-ADE0-46E2-9A28-D6914E97BA29}"/>
</file>

<file path=customXml/itemProps3.xml><?xml version="1.0" encoding="utf-8"?>
<ds:datastoreItem xmlns:ds="http://schemas.openxmlformats.org/officeDocument/2006/customXml" ds:itemID="{2178FC3E-E47C-4EFD-8293-FABA28EF0AA9}"/>
</file>

<file path=docProps/app.xml><?xml version="1.0" encoding="utf-8"?>
<Properties xmlns="http://schemas.openxmlformats.org/officeDocument/2006/extended-properties" xmlns:vt="http://schemas.openxmlformats.org/officeDocument/2006/docPropsVTypes">
  <TotalTime>2954</TotalTime>
  <Words>2144</Words>
  <Application>Microsoft Office PowerPoint</Application>
  <PresentationFormat>Personalizado</PresentationFormat>
  <Paragraphs>338</Paragraphs>
  <Slides>32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2</vt:i4>
      </vt:variant>
    </vt:vector>
  </HeadingPairs>
  <TitlesOfParts>
    <vt:vector size="49" baseType="lpstr">
      <vt:lpstr>ACHS Nueva Sans</vt:lpstr>
      <vt:lpstr>ACHS Nueva Sans ExtraBold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 Neue Medium</vt:lpstr>
      <vt:lpstr>Trebuchet MS</vt:lpstr>
      <vt:lpstr>Wingdings</vt:lpstr>
      <vt:lpstr>Office Theme</vt:lpstr>
      <vt:lpstr>TemaCursos</vt:lpstr>
      <vt:lpstr>2_Tema de Office</vt:lpstr>
      <vt:lpstr>Diapositiva de think-cell</vt:lpstr>
      <vt:lpstr>Presentación de PowerPoint</vt:lpstr>
      <vt:lpstr>Antes de comenzar</vt:lpstr>
      <vt:lpstr>Presentación de PowerPoint</vt:lpstr>
      <vt:lpstr>Presentación de PowerPoint</vt:lpstr>
      <vt:lpstr>Presentación de PowerPoint</vt:lpstr>
      <vt:lpstr>Protocolo PREXOR</vt:lpstr>
      <vt:lpstr>Protocolo PREXOR</vt:lpstr>
      <vt:lpstr>Protocolo PREXOR</vt:lpstr>
      <vt:lpstr>Protocolo PREXOR</vt:lpstr>
      <vt:lpstr>Protocolo PREXO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150</cp:revision>
  <dcterms:created xsi:type="dcterms:W3CDTF">2018-04-16T12:09:27Z</dcterms:created>
  <dcterms:modified xsi:type="dcterms:W3CDTF">2024-12-20T15:4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92CA822-3557-46ED-A693-AF42469212ED</vt:lpwstr>
  </property>
  <property fmtid="{D5CDD505-2E9C-101B-9397-08002B2CF9AE}" pid="3" name="ArticulatePath">
    <vt:lpwstr>AM_Protocolo_PREXOR</vt:lpwstr>
  </property>
  <property fmtid="{D5CDD505-2E9C-101B-9397-08002B2CF9AE}" pid="4" name="ContentTypeId">
    <vt:lpwstr>0x0101007C36543F3D857D488921B9E8F0F0A212</vt:lpwstr>
  </property>
</Properties>
</file>